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bin" ContentType="application/vnd.openxmlformats-officedocument.oleObject"/>
  <Default Extension="vml" ContentType="application/vnd.openxmlformats-officedocument.vmlDrawi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245.xml" ContentType="application/vnd.openxmlformats-officedocument.presentationml.slide+xml"/>
  <Override PartName="/ppt/tags/tag2107.xml" ContentType="application/vnd.openxmlformats-officedocument.presentationml.tags+xml"/>
  <Override PartName="/ppt/tags/tag2102.xml" ContentType="application/vnd.openxmlformats-officedocument.presentationml.tags+xml"/>
  <Override PartName="/ppt/tags/tag2106.xml" ContentType="application/vnd.openxmlformats-officedocument.presentationml.tags+xml"/>
  <Override PartName="/ppt/notesSlides/notesSlide245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2101.xml" ContentType="application/vnd.openxmlformats-officedocument.presentationml.tags+xml"/>
  <Override PartName="/ppt/tags/tag2105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104.xml" ContentType="application/vnd.openxmlformats-officedocument.presentationml.tags+xml"/>
  <Override PartName="/ppt/tags/tag2109.xml" ContentType="application/vnd.openxmlformats-officedocument.presentationml.tags+xml"/>
  <Override PartName="/ppt/tags/tag2103.xml" ContentType="application/vnd.openxmlformats-officedocument.presentationml.tags+xml"/>
  <Override PartName="/ppt/tags/tag2108.xml" ContentType="application/vnd.openxmlformats-officedocument.presentationml.tag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92" r:id="rId24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245.xml" Id="rId24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49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45.xml.rels>&#65279;<?xml version="1.0" encoding="utf-8"?><Relationships xmlns="http://schemas.openxmlformats.org/package/2006/relationships"><Relationship Type="http://schemas.openxmlformats.org/officeDocument/2006/relationships/slide" Target="/ppt/slides/slide245.xml" Id="rId2" /><Relationship Type="http://schemas.openxmlformats.org/officeDocument/2006/relationships/notesMaster" Target="/ppt/notesMasters/notesMaster1.xml" Id="rId1" /></Relationships>
</file>

<file path=ppt/notesSlides/notesSlide2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78236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45.xml.rels>&#65279;<?xml version="1.0" encoding="utf-8"?><Relationships xmlns="http://schemas.openxmlformats.org/package/2006/relationships"><Relationship Type="http://schemas.openxmlformats.org/officeDocument/2006/relationships/tags" Target="/ppt/tags/tag2107.xml" Id="rId8" /><Relationship Type="http://schemas.openxmlformats.org/officeDocument/2006/relationships/oleObject" Target="/ppt/embeddings/oleObject249.bin" Id="rId13" /><Relationship Type="http://schemas.openxmlformats.org/officeDocument/2006/relationships/tags" Target="/ppt/tags/tag2102.xml" Id="rId3" /><Relationship Type="http://schemas.openxmlformats.org/officeDocument/2006/relationships/tags" Target="/ppt/tags/tag2106.xml" Id="rId7" /><Relationship Type="http://schemas.openxmlformats.org/officeDocument/2006/relationships/notesSlide" Target="/ppt/notesSlides/notesSlide245.xml" Id="rId12" /><Relationship Type="http://schemas.openxmlformats.org/officeDocument/2006/relationships/tags" Target="/ppt/tags/tag2101.xml" Id="rId2" /><Relationship Type="http://schemas.openxmlformats.org/officeDocument/2006/relationships/vmlDrawing" Target="/ppt/drawings/vmlDrawing249.vml" Id="rId1" /><Relationship Type="http://schemas.openxmlformats.org/officeDocument/2006/relationships/tags" Target="/ppt/tags/tag2105.xml" Id="rId6" /><Relationship Type="http://schemas.openxmlformats.org/officeDocument/2006/relationships/slideLayout" Target="/ppt/slideLayouts/slideLayout5.xml" Id="rId11" /><Relationship Type="http://schemas.openxmlformats.org/officeDocument/2006/relationships/tags" Target="/ppt/tags/tag2104.xml" Id="rId5" /><Relationship Type="http://schemas.openxmlformats.org/officeDocument/2006/relationships/tags" Target="/ppt/tags/tag2109.xml" Id="rId10" /><Relationship Type="http://schemas.openxmlformats.org/officeDocument/2006/relationships/tags" Target="/ppt/tags/tag2103.xml" Id="rId4" /><Relationship Type="http://schemas.openxmlformats.org/officeDocument/2006/relationships/tags" Target="/ppt/tags/tag2108.xml" Id="rId9" /><Relationship Type="http://schemas.openxmlformats.org/officeDocument/2006/relationships/image" Target="/ppt/media/image4.emf" Id="rId14" /></Relationships>
</file>

<file path=ppt/slides/slide24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2167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35" name="think-cell 幻灯片" r:id="rId13" imgW="349" imgH="350" progId="TCLayout.ActiveDocument.1">
                  <p:embed/>
                </p:oleObj>
              </mc:Choice>
              <mc:Fallback>
                <p:oleObj name="think-cell 幻灯片" r:id="rId13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Symbols</a:t>
            </a:r>
          </a:p>
        </p:txBody>
      </p:sp>
      <p:sp>
        <p:nvSpPr>
          <p:cNvPr id="2" name="pfeil, arrow">
            <a:extLst>
              <a:ext uri="{FF2B5EF4-FFF2-40B4-BE49-F238E27FC236}">
                <a16:creationId xmlns:a16="http://schemas.microsoft.com/office/drawing/2014/main" id="{529CF185-7E05-E362-1767-B6B9EB41AA19}"/>
              </a:ext>
            </a:extLst>
          </p:cNvPr>
          <p:cNvSpPr>
            <a:spLocks/>
          </p:cNvSpPr>
          <p:nvPr/>
        </p:nvSpPr>
        <p:spPr bwMode="auto">
          <a:xfrm rot="5400000">
            <a:off x="4395132" y="4229544"/>
            <a:ext cx="554672" cy="554672"/>
          </a:xfrm>
          <a:custGeom>
            <a:avLst/>
            <a:gdLst>
              <a:gd name="T0" fmla="*/ 319 w 4728"/>
              <a:gd name="T1" fmla="*/ 1183 h 4729"/>
              <a:gd name="T2" fmla="*/ 1182 w 4728"/>
              <a:gd name="T3" fmla="*/ 320 h 4729"/>
              <a:gd name="T4" fmla="*/ 2364 w 4728"/>
              <a:gd name="T5" fmla="*/ 0 h 4729"/>
              <a:gd name="T6" fmla="*/ 3546 w 4728"/>
              <a:gd name="T7" fmla="*/ 320 h 4729"/>
              <a:gd name="T8" fmla="*/ 4409 w 4728"/>
              <a:gd name="T9" fmla="*/ 1182 h 4729"/>
              <a:gd name="T10" fmla="*/ 4728 w 4728"/>
              <a:gd name="T11" fmla="*/ 2365 h 4729"/>
              <a:gd name="T12" fmla="*/ 4409 w 4728"/>
              <a:gd name="T13" fmla="*/ 3547 h 4729"/>
              <a:gd name="T14" fmla="*/ 3546 w 4728"/>
              <a:gd name="T15" fmla="*/ 4409 h 4729"/>
              <a:gd name="T16" fmla="*/ 2364 w 4728"/>
              <a:gd name="T17" fmla="*/ 4729 h 4729"/>
              <a:gd name="T18" fmla="*/ 1182 w 4728"/>
              <a:gd name="T19" fmla="*/ 4410 h 4729"/>
              <a:gd name="T20" fmla="*/ 319 w 4728"/>
              <a:gd name="T21" fmla="*/ 3547 h 4729"/>
              <a:gd name="T22" fmla="*/ 0 w 4728"/>
              <a:gd name="T23" fmla="*/ 2365 h 4729"/>
              <a:gd name="T24" fmla="*/ 319 w 4728"/>
              <a:gd name="T25" fmla="*/ 1183 h 4729"/>
              <a:gd name="T26" fmla="*/ 2059 w 4728"/>
              <a:gd name="T27" fmla="*/ 1917 h 4729"/>
              <a:gd name="T28" fmla="*/ 2059 w 4728"/>
              <a:gd name="T29" fmla="*/ 3661 h 4729"/>
              <a:gd name="T30" fmla="*/ 2126 w 4728"/>
              <a:gd name="T31" fmla="*/ 3823 h 4729"/>
              <a:gd name="T32" fmla="*/ 2288 w 4728"/>
              <a:gd name="T33" fmla="*/ 3890 h 4729"/>
              <a:gd name="T34" fmla="*/ 2440 w 4728"/>
              <a:gd name="T35" fmla="*/ 3890 h 4729"/>
              <a:gd name="T36" fmla="*/ 2602 w 4728"/>
              <a:gd name="T37" fmla="*/ 3823 h 4729"/>
              <a:gd name="T38" fmla="*/ 2669 w 4728"/>
              <a:gd name="T39" fmla="*/ 3661 h 4729"/>
              <a:gd name="T40" fmla="*/ 2669 w 4728"/>
              <a:gd name="T41" fmla="*/ 1917 h 4729"/>
              <a:gd name="T42" fmla="*/ 3355 w 4728"/>
              <a:gd name="T43" fmla="*/ 2641 h 4729"/>
              <a:gd name="T44" fmla="*/ 3522 w 4728"/>
              <a:gd name="T45" fmla="*/ 2708 h 4729"/>
              <a:gd name="T46" fmla="*/ 3689 w 4728"/>
              <a:gd name="T47" fmla="*/ 2641 h 4729"/>
              <a:gd name="T48" fmla="*/ 3794 w 4728"/>
              <a:gd name="T49" fmla="*/ 2536 h 4729"/>
              <a:gd name="T50" fmla="*/ 3861 w 4728"/>
              <a:gd name="T51" fmla="*/ 2374 h 4729"/>
              <a:gd name="T52" fmla="*/ 3794 w 4728"/>
              <a:gd name="T53" fmla="*/ 2212 h 4729"/>
              <a:gd name="T54" fmla="*/ 2526 w 4728"/>
              <a:gd name="T55" fmla="*/ 954 h 4729"/>
              <a:gd name="T56" fmla="*/ 2364 w 4728"/>
              <a:gd name="T57" fmla="*/ 887 h 4729"/>
              <a:gd name="T58" fmla="*/ 2202 w 4728"/>
              <a:gd name="T59" fmla="*/ 954 h 4729"/>
              <a:gd name="T60" fmla="*/ 934 w 4728"/>
              <a:gd name="T61" fmla="*/ 2212 h 4729"/>
              <a:gd name="T62" fmla="*/ 867 w 4728"/>
              <a:gd name="T63" fmla="*/ 2374 h 4729"/>
              <a:gd name="T64" fmla="*/ 934 w 4728"/>
              <a:gd name="T65" fmla="*/ 2536 h 4729"/>
              <a:gd name="T66" fmla="*/ 1039 w 4728"/>
              <a:gd name="T67" fmla="*/ 2641 h 4729"/>
              <a:gd name="T68" fmla="*/ 1206 w 4728"/>
              <a:gd name="T69" fmla="*/ 2708 h 4729"/>
              <a:gd name="T70" fmla="*/ 1372 w 4728"/>
              <a:gd name="T71" fmla="*/ 2641 h 4729"/>
              <a:gd name="T72" fmla="*/ 2059 w 4728"/>
              <a:gd name="T73" fmla="*/ 1917 h 47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728" h="4729">
                <a:moveTo>
                  <a:pt x="319" y="1183"/>
                </a:moveTo>
                <a:cubicBezTo>
                  <a:pt x="532" y="820"/>
                  <a:pt x="819" y="533"/>
                  <a:pt x="1182" y="320"/>
                </a:cubicBezTo>
                <a:cubicBezTo>
                  <a:pt x="1544" y="107"/>
                  <a:pt x="1938" y="0"/>
                  <a:pt x="2364" y="0"/>
                </a:cubicBezTo>
                <a:cubicBezTo>
                  <a:pt x="2790" y="0"/>
                  <a:pt x="3184" y="107"/>
                  <a:pt x="3546" y="320"/>
                </a:cubicBezTo>
                <a:cubicBezTo>
                  <a:pt x="3908" y="533"/>
                  <a:pt x="4196" y="820"/>
                  <a:pt x="4409" y="1182"/>
                </a:cubicBezTo>
                <a:cubicBezTo>
                  <a:pt x="4622" y="1545"/>
                  <a:pt x="4728" y="1939"/>
                  <a:pt x="4728" y="2365"/>
                </a:cubicBezTo>
                <a:cubicBezTo>
                  <a:pt x="4728" y="2790"/>
                  <a:pt x="4622" y="3184"/>
                  <a:pt x="4409" y="3547"/>
                </a:cubicBezTo>
                <a:cubicBezTo>
                  <a:pt x="4196" y="3909"/>
                  <a:pt x="3908" y="4197"/>
                  <a:pt x="3546" y="4409"/>
                </a:cubicBezTo>
                <a:cubicBezTo>
                  <a:pt x="3184" y="4622"/>
                  <a:pt x="2790" y="4729"/>
                  <a:pt x="2364" y="4729"/>
                </a:cubicBezTo>
                <a:cubicBezTo>
                  <a:pt x="1938" y="4729"/>
                  <a:pt x="1544" y="4622"/>
                  <a:pt x="1182" y="4410"/>
                </a:cubicBezTo>
                <a:cubicBezTo>
                  <a:pt x="820" y="4197"/>
                  <a:pt x="532" y="3909"/>
                  <a:pt x="319" y="3547"/>
                </a:cubicBezTo>
                <a:cubicBezTo>
                  <a:pt x="106" y="3185"/>
                  <a:pt x="0" y="2791"/>
                  <a:pt x="0" y="2365"/>
                </a:cubicBezTo>
                <a:cubicBezTo>
                  <a:pt x="0" y="1939"/>
                  <a:pt x="106" y="1545"/>
                  <a:pt x="319" y="1183"/>
                </a:cubicBezTo>
                <a:close/>
                <a:moveTo>
                  <a:pt x="2059" y="1917"/>
                </a:moveTo>
                <a:cubicBezTo>
                  <a:pt x="2059" y="3661"/>
                  <a:pt x="2059" y="3661"/>
                  <a:pt x="2059" y="3661"/>
                </a:cubicBezTo>
                <a:cubicBezTo>
                  <a:pt x="2059" y="3725"/>
                  <a:pt x="2081" y="3779"/>
                  <a:pt x="2126" y="3823"/>
                </a:cubicBezTo>
                <a:cubicBezTo>
                  <a:pt x="2170" y="3868"/>
                  <a:pt x="2224" y="3890"/>
                  <a:pt x="2288" y="3890"/>
                </a:cubicBezTo>
                <a:cubicBezTo>
                  <a:pt x="2440" y="3890"/>
                  <a:pt x="2440" y="3890"/>
                  <a:pt x="2440" y="3890"/>
                </a:cubicBezTo>
                <a:cubicBezTo>
                  <a:pt x="2504" y="3890"/>
                  <a:pt x="2558" y="3868"/>
                  <a:pt x="2602" y="3823"/>
                </a:cubicBezTo>
                <a:cubicBezTo>
                  <a:pt x="2647" y="3779"/>
                  <a:pt x="2669" y="3725"/>
                  <a:pt x="2669" y="3661"/>
                </a:cubicBezTo>
                <a:cubicBezTo>
                  <a:pt x="2669" y="1917"/>
                  <a:pt x="2669" y="1917"/>
                  <a:pt x="2669" y="1917"/>
                </a:cubicBezTo>
                <a:cubicBezTo>
                  <a:pt x="3355" y="2641"/>
                  <a:pt x="3355" y="2641"/>
                  <a:pt x="3355" y="2641"/>
                </a:cubicBezTo>
                <a:cubicBezTo>
                  <a:pt x="3400" y="2686"/>
                  <a:pt x="3455" y="2708"/>
                  <a:pt x="3522" y="2708"/>
                </a:cubicBezTo>
                <a:cubicBezTo>
                  <a:pt x="3589" y="2708"/>
                  <a:pt x="3644" y="2686"/>
                  <a:pt x="3689" y="2641"/>
                </a:cubicBezTo>
                <a:cubicBezTo>
                  <a:pt x="3794" y="2536"/>
                  <a:pt x="3794" y="2536"/>
                  <a:pt x="3794" y="2536"/>
                </a:cubicBezTo>
                <a:cubicBezTo>
                  <a:pt x="3838" y="2492"/>
                  <a:pt x="3861" y="2438"/>
                  <a:pt x="3861" y="2374"/>
                </a:cubicBezTo>
                <a:cubicBezTo>
                  <a:pt x="3860" y="2311"/>
                  <a:pt x="3838" y="2257"/>
                  <a:pt x="3794" y="2212"/>
                </a:cubicBezTo>
                <a:cubicBezTo>
                  <a:pt x="2526" y="954"/>
                  <a:pt x="2526" y="954"/>
                  <a:pt x="2526" y="954"/>
                </a:cubicBezTo>
                <a:cubicBezTo>
                  <a:pt x="2481" y="909"/>
                  <a:pt x="2427" y="887"/>
                  <a:pt x="2364" y="887"/>
                </a:cubicBezTo>
                <a:cubicBezTo>
                  <a:pt x="2300" y="887"/>
                  <a:pt x="2246" y="909"/>
                  <a:pt x="2202" y="954"/>
                </a:cubicBezTo>
                <a:cubicBezTo>
                  <a:pt x="934" y="2212"/>
                  <a:pt x="934" y="2212"/>
                  <a:pt x="934" y="2212"/>
                </a:cubicBezTo>
                <a:cubicBezTo>
                  <a:pt x="889" y="2257"/>
                  <a:pt x="867" y="2311"/>
                  <a:pt x="867" y="2374"/>
                </a:cubicBezTo>
                <a:cubicBezTo>
                  <a:pt x="867" y="2438"/>
                  <a:pt x="889" y="2492"/>
                  <a:pt x="934" y="2536"/>
                </a:cubicBezTo>
                <a:cubicBezTo>
                  <a:pt x="1039" y="2641"/>
                  <a:pt x="1039" y="2641"/>
                  <a:pt x="1039" y="2641"/>
                </a:cubicBezTo>
                <a:cubicBezTo>
                  <a:pt x="1083" y="2686"/>
                  <a:pt x="1139" y="2708"/>
                  <a:pt x="1206" y="2708"/>
                </a:cubicBezTo>
                <a:cubicBezTo>
                  <a:pt x="1272" y="2708"/>
                  <a:pt x="1328" y="2686"/>
                  <a:pt x="1372" y="2641"/>
                </a:cubicBezTo>
                <a:lnTo>
                  <a:pt x="2059" y="191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pfeil, arrow">
            <a:extLst>
              <a:ext uri="{FF2B5EF4-FFF2-40B4-BE49-F238E27FC236}">
                <a16:creationId xmlns:a16="http://schemas.microsoft.com/office/drawing/2014/main" id="{BE74461B-ED22-9AE0-2BDB-DF2B2ACE8932}"/>
              </a:ext>
            </a:extLst>
          </p:cNvPr>
          <p:cNvSpPr>
            <a:spLocks/>
          </p:cNvSpPr>
          <p:nvPr/>
        </p:nvSpPr>
        <p:spPr bwMode="auto">
          <a:xfrm rot="16200000" flipH="1">
            <a:off x="5057804" y="4229544"/>
            <a:ext cx="554672" cy="554672"/>
          </a:xfrm>
          <a:custGeom>
            <a:avLst/>
            <a:gdLst>
              <a:gd name="T0" fmla="*/ 319 w 4728"/>
              <a:gd name="T1" fmla="*/ 1183 h 4729"/>
              <a:gd name="T2" fmla="*/ 1182 w 4728"/>
              <a:gd name="T3" fmla="*/ 320 h 4729"/>
              <a:gd name="T4" fmla="*/ 2364 w 4728"/>
              <a:gd name="T5" fmla="*/ 0 h 4729"/>
              <a:gd name="T6" fmla="*/ 3546 w 4728"/>
              <a:gd name="T7" fmla="*/ 320 h 4729"/>
              <a:gd name="T8" fmla="*/ 4409 w 4728"/>
              <a:gd name="T9" fmla="*/ 1182 h 4729"/>
              <a:gd name="T10" fmla="*/ 4728 w 4728"/>
              <a:gd name="T11" fmla="*/ 2365 h 4729"/>
              <a:gd name="T12" fmla="*/ 4409 w 4728"/>
              <a:gd name="T13" fmla="*/ 3547 h 4729"/>
              <a:gd name="T14" fmla="*/ 3546 w 4728"/>
              <a:gd name="T15" fmla="*/ 4409 h 4729"/>
              <a:gd name="T16" fmla="*/ 2364 w 4728"/>
              <a:gd name="T17" fmla="*/ 4729 h 4729"/>
              <a:gd name="T18" fmla="*/ 1182 w 4728"/>
              <a:gd name="T19" fmla="*/ 4410 h 4729"/>
              <a:gd name="T20" fmla="*/ 319 w 4728"/>
              <a:gd name="T21" fmla="*/ 3547 h 4729"/>
              <a:gd name="T22" fmla="*/ 0 w 4728"/>
              <a:gd name="T23" fmla="*/ 2365 h 4729"/>
              <a:gd name="T24" fmla="*/ 319 w 4728"/>
              <a:gd name="T25" fmla="*/ 1183 h 4729"/>
              <a:gd name="T26" fmla="*/ 2059 w 4728"/>
              <a:gd name="T27" fmla="*/ 1917 h 4729"/>
              <a:gd name="T28" fmla="*/ 2059 w 4728"/>
              <a:gd name="T29" fmla="*/ 3661 h 4729"/>
              <a:gd name="T30" fmla="*/ 2126 w 4728"/>
              <a:gd name="T31" fmla="*/ 3823 h 4729"/>
              <a:gd name="T32" fmla="*/ 2288 w 4728"/>
              <a:gd name="T33" fmla="*/ 3890 h 4729"/>
              <a:gd name="T34" fmla="*/ 2440 w 4728"/>
              <a:gd name="T35" fmla="*/ 3890 h 4729"/>
              <a:gd name="T36" fmla="*/ 2602 w 4728"/>
              <a:gd name="T37" fmla="*/ 3823 h 4729"/>
              <a:gd name="T38" fmla="*/ 2669 w 4728"/>
              <a:gd name="T39" fmla="*/ 3661 h 4729"/>
              <a:gd name="T40" fmla="*/ 2669 w 4728"/>
              <a:gd name="T41" fmla="*/ 1917 h 4729"/>
              <a:gd name="T42" fmla="*/ 3355 w 4728"/>
              <a:gd name="T43" fmla="*/ 2641 h 4729"/>
              <a:gd name="T44" fmla="*/ 3522 w 4728"/>
              <a:gd name="T45" fmla="*/ 2708 h 4729"/>
              <a:gd name="T46" fmla="*/ 3689 w 4728"/>
              <a:gd name="T47" fmla="*/ 2641 h 4729"/>
              <a:gd name="T48" fmla="*/ 3794 w 4728"/>
              <a:gd name="T49" fmla="*/ 2536 h 4729"/>
              <a:gd name="T50" fmla="*/ 3861 w 4728"/>
              <a:gd name="T51" fmla="*/ 2374 h 4729"/>
              <a:gd name="T52" fmla="*/ 3794 w 4728"/>
              <a:gd name="T53" fmla="*/ 2212 h 4729"/>
              <a:gd name="T54" fmla="*/ 2526 w 4728"/>
              <a:gd name="T55" fmla="*/ 954 h 4729"/>
              <a:gd name="T56" fmla="*/ 2364 w 4728"/>
              <a:gd name="T57" fmla="*/ 887 h 4729"/>
              <a:gd name="T58" fmla="*/ 2202 w 4728"/>
              <a:gd name="T59" fmla="*/ 954 h 4729"/>
              <a:gd name="T60" fmla="*/ 934 w 4728"/>
              <a:gd name="T61" fmla="*/ 2212 h 4729"/>
              <a:gd name="T62" fmla="*/ 867 w 4728"/>
              <a:gd name="T63" fmla="*/ 2374 h 4729"/>
              <a:gd name="T64" fmla="*/ 934 w 4728"/>
              <a:gd name="T65" fmla="*/ 2536 h 4729"/>
              <a:gd name="T66" fmla="*/ 1039 w 4728"/>
              <a:gd name="T67" fmla="*/ 2641 h 4729"/>
              <a:gd name="T68" fmla="*/ 1206 w 4728"/>
              <a:gd name="T69" fmla="*/ 2708 h 4729"/>
              <a:gd name="T70" fmla="*/ 1372 w 4728"/>
              <a:gd name="T71" fmla="*/ 2641 h 4729"/>
              <a:gd name="T72" fmla="*/ 2059 w 4728"/>
              <a:gd name="T73" fmla="*/ 1917 h 47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728" h="4729">
                <a:moveTo>
                  <a:pt x="319" y="1183"/>
                </a:moveTo>
                <a:cubicBezTo>
                  <a:pt x="532" y="820"/>
                  <a:pt x="819" y="533"/>
                  <a:pt x="1182" y="320"/>
                </a:cubicBezTo>
                <a:cubicBezTo>
                  <a:pt x="1544" y="107"/>
                  <a:pt x="1938" y="0"/>
                  <a:pt x="2364" y="0"/>
                </a:cubicBezTo>
                <a:cubicBezTo>
                  <a:pt x="2790" y="0"/>
                  <a:pt x="3184" y="107"/>
                  <a:pt x="3546" y="320"/>
                </a:cubicBezTo>
                <a:cubicBezTo>
                  <a:pt x="3908" y="533"/>
                  <a:pt x="4196" y="820"/>
                  <a:pt x="4409" y="1182"/>
                </a:cubicBezTo>
                <a:cubicBezTo>
                  <a:pt x="4622" y="1545"/>
                  <a:pt x="4728" y="1939"/>
                  <a:pt x="4728" y="2365"/>
                </a:cubicBezTo>
                <a:cubicBezTo>
                  <a:pt x="4728" y="2790"/>
                  <a:pt x="4622" y="3184"/>
                  <a:pt x="4409" y="3547"/>
                </a:cubicBezTo>
                <a:cubicBezTo>
                  <a:pt x="4196" y="3909"/>
                  <a:pt x="3908" y="4197"/>
                  <a:pt x="3546" y="4409"/>
                </a:cubicBezTo>
                <a:cubicBezTo>
                  <a:pt x="3184" y="4622"/>
                  <a:pt x="2790" y="4729"/>
                  <a:pt x="2364" y="4729"/>
                </a:cubicBezTo>
                <a:cubicBezTo>
                  <a:pt x="1938" y="4729"/>
                  <a:pt x="1544" y="4622"/>
                  <a:pt x="1182" y="4410"/>
                </a:cubicBezTo>
                <a:cubicBezTo>
                  <a:pt x="820" y="4197"/>
                  <a:pt x="532" y="3909"/>
                  <a:pt x="319" y="3547"/>
                </a:cubicBezTo>
                <a:cubicBezTo>
                  <a:pt x="106" y="3185"/>
                  <a:pt x="0" y="2791"/>
                  <a:pt x="0" y="2365"/>
                </a:cubicBezTo>
                <a:cubicBezTo>
                  <a:pt x="0" y="1939"/>
                  <a:pt x="106" y="1545"/>
                  <a:pt x="319" y="1183"/>
                </a:cubicBezTo>
                <a:close/>
                <a:moveTo>
                  <a:pt x="2059" y="1917"/>
                </a:moveTo>
                <a:cubicBezTo>
                  <a:pt x="2059" y="3661"/>
                  <a:pt x="2059" y="3661"/>
                  <a:pt x="2059" y="3661"/>
                </a:cubicBezTo>
                <a:cubicBezTo>
                  <a:pt x="2059" y="3725"/>
                  <a:pt x="2081" y="3779"/>
                  <a:pt x="2126" y="3823"/>
                </a:cubicBezTo>
                <a:cubicBezTo>
                  <a:pt x="2170" y="3868"/>
                  <a:pt x="2224" y="3890"/>
                  <a:pt x="2288" y="3890"/>
                </a:cubicBezTo>
                <a:cubicBezTo>
                  <a:pt x="2440" y="3890"/>
                  <a:pt x="2440" y="3890"/>
                  <a:pt x="2440" y="3890"/>
                </a:cubicBezTo>
                <a:cubicBezTo>
                  <a:pt x="2504" y="3890"/>
                  <a:pt x="2558" y="3868"/>
                  <a:pt x="2602" y="3823"/>
                </a:cubicBezTo>
                <a:cubicBezTo>
                  <a:pt x="2647" y="3779"/>
                  <a:pt x="2669" y="3725"/>
                  <a:pt x="2669" y="3661"/>
                </a:cubicBezTo>
                <a:cubicBezTo>
                  <a:pt x="2669" y="1917"/>
                  <a:pt x="2669" y="1917"/>
                  <a:pt x="2669" y="1917"/>
                </a:cubicBezTo>
                <a:cubicBezTo>
                  <a:pt x="3355" y="2641"/>
                  <a:pt x="3355" y="2641"/>
                  <a:pt x="3355" y="2641"/>
                </a:cubicBezTo>
                <a:cubicBezTo>
                  <a:pt x="3400" y="2686"/>
                  <a:pt x="3455" y="2708"/>
                  <a:pt x="3522" y="2708"/>
                </a:cubicBezTo>
                <a:cubicBezTo>
                  <a:pt x="3589" y="2708"/>
                  <a:pt x="3644" y="2686"/>
                  <a:pt x="3689" y="2641"/>
                </a:cubicBezTo>
                <a:cubicBezTo>
                  <a:pt x="3794" y="2536"/>
                  <a:pt x="3794" y="2536"/>
                  <a:pt x="3794" y="2536"/>
                </a:cubicBezTo>
                <a:cubicBezTo>
                  <a:pt x="3838" y="2492"/>
                  <a:pt x="3861" y="2438"/>
                  <a:pt x="3861" y="2374"/>
                </a:cubicBezTo>
                <a:cubicBezTo>
                  <a:pt x="3860" y="2311"/>
                  <a:pt x="3838" y="2257"/>
                  <a:pt x="3794" y="2212"/>
                </a:cubicBezTo>
                <a:cubicBezTo>
                  <a:pt x="2526" y="954"/>
                  <a:pt x="2526" y="954"/>
                  <a:pt x="2526" y="954"/>
                </a:cubicBezTo>
                <a:cubicBezTo>
                  <a:pt x="2481" y="909"/>
                  <a:pt x="2427" y="887"/>
                  <a:pt x="2364" y="887"/>
                </a:cubicBezTo>
                <a:cubicBezTo>
                  <a:pt x="2300" y="887"/>
                  <a:pt x="2246" y="909"/>
                  <a:pt x="2202" y="954"/>
                </a:cubicBezTo>
                <a:cubicBezTo>
                  <a:pt x="934" y="2212"/>
                  <a:pt x="934" y="2212"/>
                  <a:pt x="934" y="2212"/>
                </a:cubicBezTo>
                <a:cubicBezTo>
                  <a:pt x="889" y="2257"/>
                  <a:pt x="867" y="2311"/>
                  <a:pt x="867" y="2374"/>
                </a:cubicBezTo>
                <a:cubicBezTo>
                  <a:pt x="867" y="2438"/>
                  <a:pt x="889" y="2492"/>
                  <a:pt x="934" y="2536"/>
                </a:cubicBezTo>
                <a:cubicBezTo>
                  <a:pt x="1039" y="2641"/>
                  <a:pt x="1039" y="2641"/>
                  <a:pt x="1039" y="2641"/>
                </a:cubicBezTo>
                <a:cubicBezTo>
                  <a:pt x="1083" y="2686"/>
                  <a:pt x="1139" y="2708"/>
                  <a:pt x="1206" y="2708"/>
                </a:cubicBezTo>
                <a:cubicBezTo>
                  <a:pt x="1272" y="2708"/>
                  <a:pt x="1328" y="2686"/>
                  <a:pt x="1372" y="2641"/>
                </a:cubicBezTo>
                <a:lnTo>
                  <a:pt x="2059" y="191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pfeil, arrow">
            <a:extLst>
              <a:ext uri="{FF2B5EF4-FFF2-40B4-BE49-F238E27FC236}">
                <a16:creationId xmlns:a16="http://schemas.microsoft.com/office/drawing/2014/main" id="{A793B604-1B25-598A-A0F4-9379A8C485BA}"/>
              </a:ext>
            </a:extLst>
          </p:cNvPr>
          <p:cNvSpPr>
            <a:spLocks/>
          </p:cNvSpPr>
          <p:nvPr/>
        </p:nvSpPr>
        <p:spPr bwMode="auto">
          <a:xfrm flipH="1">
            <a:off x="5720476" y="4229544"/>
            <a:ext cx="554672" cy="554672"/>
          </a:xfrm>
          <a:custGeom>
            <a:avLst/>
            <a:gdLst>
              <a:gd name="T0" fmla="*/ 319 w 4728"/>
              <a:gd name="T1" fmla="*/ 1183 h 4729"/>
              <a:gd name="T2" fmla="*/ 1182 w 4728"/>
              <a:gd name="T3" fmla="*/ 320 h 4729"/>
              <a:gd name="T4" fmla="*/ 2364 w 4728"/>
              <a:gd name="T5" fmla="*/ 0 h 4729"/>
              <a:gd name="T6" fmla="*/ 3546 w 4728"/>
              <a:gd name="T7" fmla="*/ 320 h 4729"/>
              <a:gd name="T8" fmla="*/ 4409 w 4728"/>
              <a:gd name="T9" fmla="*/ 1182 h 4729"/>
              <a:gd name="T10" fmla="*/ 4728 w 4728"/>
              <a:gd name="T11" fmla="*/ 2365 h 4729"/>
              <a:gd name="T12" fmla="*/ 4409 w 4728"/>
              <a:gd name="T13" fmla="*/ 3547 h 4729"/>
              <a:gd name="T14" fmla="*/ 3546 w 4728"/>
              <a:gd name="T15" fmla="*/ 4409 h 4729"/>
              <a:gd name="T16" fmla="*/ 2364 w 4728"/>
              <a:gd name="T17" fmla="*/ 4729 h 4729"/>
              <a:gd name="T18" fmla="*/ 1182 w 4728"/>
              <a:gd name="T19" fmla="*/ 4410 h 4729"/>
              <a:gd name="T20" fmla="*/ 319 w 4728"/>
              <a:gd name="T21" fmla="*/ 3547 h 4729"/>
              <a:gd name="T22" fmla="*/ 0 w 4728"/>
              <a:gd name="T23" fmla="*/ 2365 h 4729"/>
              <a:gd name="T24" fmla="*/ 319 w 4728"/>
              <a:gd name="T25" fmla="*/ 1183 h 4729"/>
              <a:gd name="T26" fmla="*/ 2059 w 4728"/>
              <a:gd name="T27" fmla="*/ 1917 h 4729"/>
              <a:gd name="T28" fmla="*/ 2059 w 4728"/>
              <a:gd name="T29" fmla="*/ 3661 h 4729"/>
              <a:gd name="T30" fmla="*/ 2126 w 4728"/>
              <a:gd name="T31" fmla="*/ 3823 h 4729"/>
              <a:gd name="T32" fmla="*/ 2288 w 4728"/>
              <a:gd name="T33" fmla="*/ 3890 h 4729"/>
              <a:gd name="T34" fmla="*/ 2440 w 4728"/>
              <a:gd name="T35" fmla="*/ 3890 h 4729"/>
              <a:gd name="T36" fmla="*/ 2602 w 4728"/>
              <a:gd name="T37" fmla="*/ 3823 h 4729"/>
              <a:gd name="T38" fmla="*/ 2669 w 4728"/>
              <a:gd name="T39" fmla="*/ 3661 h 4729"/>
              <a:gd name="T40" fmla="*/ 2669 w 4728"/>
              <a:gd name="T41" fmla="*/ 1917 h 4729"/>
              <a:gd name="T42" fmla="*/ 3355 w 4728"/>
              <a:gd name="T43" fmla="*/ 2641 h 4729"/>
              <a:gd name="T44" fmla="*/ 3522 w 4728"/>
              <a:gd name="T45" fmla="*/ 2708 h 4729"/>
              <a:gd name="T46" fmla="*/ 3689 w 4728"/>
              <a:gd name="T47" fmla="*/ 2641 h 4729"/>
              <a:gd name="T48" fmla="*/ 3794 w 4728"/>
              <a:gd name="T49" fmla="*/ 2536 h 4729"/>
              <a:gd name="T50" fmla="*/ 3861 w 4728"/>
              <a:gd name="T51" fmla="*/ 2374 h 4729"/>
              <a:gd name="T52" fmla="*/ 3794 w 4728"/>
              <a:gd name="T53" fmla="*/ 2212 h 4729"/>
              <a:gd name="T54" fmla="*/ 2526 w 4728"/>
              <a:gd name="T55" fmla="*/ 954 h 4729"/>
              <a:gd name="T56" fmla="*/ 2364 w 4728"/>
              <a:gd name="T57" fmla="*/ 887 h 4729"/>
              <a:gd name="T58" fmla="*/ 2202 w 4728"/>
              <a:gd name="T59" fmla="*/ 954 h 4729"/>
              <a:gd name="T60" fmla="*/ 934 w 4728"/>
              <a:gd name="T61" fmla="*/ 2212 h 4729"/>
              <a:gd name="T62" fmla="*/ 867 w 4728"/>
              <a:gd name="T63" fmla="*/ 2374 h 4729"/>
              <a:gd name="T64" fmla="*/ 934 w 4728"/>
              <a:gd name="T65" fmla="*/ 2536 h 4729"/>
              <a:gd name="T66" fmla="*/ 1039 w 4728"/>
              <a:gd name="T67" fmla="*/ 2641 h 4729"/>
              <a:gd name="T68" fmla="*/ 1206 w 4728"/>
              <a:gd name="T69" fmla="*/ 2708 h 4729"/>
              <a:gd name="T70" fmla="*/ 1372 w 4728"/>
              <a:gd name="T71" fmla="*/ 2641 h 4729"/>
              <a:gd name="T72" fmla="*/ 2059 w 4728"/>
              <a:gd name="T73" fmla="*/ 1917 h 47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728" h="4729">
                <a:moveTo>
                  <a:pt x="319" y="1183"/>
                </a:moveTo>
                <a:cubicBezTo>
                  <a:pt x="532" y="820"/>
                  <a:pt x="819" y="533"/>
                  <a:pt x="1182" y="320"/>
                </a:cubicBezTo>
                <a:cubicBezTo>
                  <a:pt x="1544" y="107"/>
                  <a:pt x="1938" y="0"/>
                  <a:pt x="2364" y="0"/>
                </a:cubicBezTo>
                <a:cubicBezTo>
                  <a:pt x="2790" y="0"/>
                  <a:pt x="3184" y="107"/>
                  <a:pt x="3546" y="320"/>
                </a:cubicBezTo>
                <a:cubicBezTo>
                  <a:pt x="3908" y="533"/>
                  <a:pt x="4196" y="820"/>
                  <a:pt x="4409" y="1182"/>
                </a:cubicBezTo>
                <a:cubicBezTo>
                  <a:pt x="4622" y="1545"/>
                  <a:pt x="4728" y="1939"/>
                  <a:pt x="4728" y="2365"/>
                </a:cubicBezTo>
                <a:cubicBezTo>
                  <a:pt x="4728" y="2790"/>
                  <a:pt x="4622" y="3184"/>
                  <a:pt x="4409" y="3547"/>
                </a:cubicBezTo>
                <a:cubicBezTo>
                  <a:pt x="4196" y="3909"/>
                  <a:pt x="3908" y="4197"/>
                  <a:pt x="3546" y="4409"/>
                </a:cubicBezTo>
                <a:cubicBezTo>
                  <a:pt x="3184" y="4622"/>
                  <a:pt x="2790" y="4729"/>
                  <a:pt x="2364" y="4729"/>
                </a:cubicBezTo>
                <a:cubicBezTo>
                  <a:pt x="1938" y="4729"/>
                  <a:pt x="1544" y="4622"/>
                  <a:pt x="1182" y="4410"/>
                </a:cubicBezTo>
                <a:cubicBezTo>
                  <a:pt x="820" y="4197"/>
                  <a:pt x="532" y="3909"/>
                  <a:pt x="319" y="3547"/>
                </a:cubicBezTo>
                <a:cubicBezTo>
                  <a:pt x="106" y="3185"/>
                  <a:pt x="0" y="2791"/>
                  <a:pt x="0" y="2365"/>
                </a:cubicBezTo>
                <a:cubicBezTo>
                  <a:pt x="0" y="1939"/>
                  <a:pt x="106" y="1545"/>
                  <a:pt x="319" y="1183"/>
                </a:cubicBezTo>
                <a:close/>
                <a:moveTo>
                  <a:pt x="2059" y="1917"/>
                </a:moveTo>
                <a:cubicBezTo>
                  <a:pt x="2059" y="3661"/>
                  <a:pt x="2059" y="3661"/>
                  <a:pt x="2059" y="3661"/>
                </a:cubicBezTo>
                <a:cubicBezTo>
                  <a:pt x="2059" y="3725"/>
                  <a:pt x="2081" y="3779"/>
                  <a:pt x="2126" y="3823"/>
                </a:cubicBezTo>
                <a:cubicBezTo>
                  <a:pt x="2170" y="3868"/>
                  <a:pt x="2224" y="3890"/>
                  <a:pt x="2288" y="3890"/>
                </a:cubicBezTo>
                <a:cubicBezTo>
                  <a:pt x="2440" y="3890"/>
                  <a:pt x="2440" y="3890"/>
                  <a:pt x="2440" y="3890"/>
                </a:cubicBezTo>
                <a:cubicBezTo>
                  <a:pt x="2504" y="3890"/>
                  <a:pt x="2558" y="3868"/>
                  <a:pt x="2602" y="3823"/>
                </a:cubicBezTo>
                <a:cubicBezTo>
                  <a:pt x="2647" y="3779"/>
                  <a:pt x="2669" y="3725"/>
                  <a:pt x="2669" y="3661"/>
                </a:cubicBezTo>
                <a:cubicBezTo>
                  <a:pt x="2669" y="1917"/>
                  <a:pt x="2669" y="1917"/>
                  <a:pt x="2669" y="1917"/>
                </a:cubicBezTo>
                <a:cubicBezTo>
                  <a:pt x="3355" y="2641"/>
                  <a:pt x="3355" y="2641"/>
                  <a:pt x="3355" y="2641"/>
                </a:cubicBezTo>
                <a:cubicBezTo>
                  <a:pt x="3400" y="2686"/>
                  <a:pt x="3455" y="2708"/>
                  <a:pt x="3522" y="2708"/>
                </a:cubicBezTo>
                <a:cubicBezTo>
                  <a:pt x="3589" y="2708"/>
                  <a:pt x="3644" y="2686"/>
                  <a:pt x="3689" y="2641"/>
                </a:cubicBezTo>
                <a:cubicBezTo>
                  <a:pt x="3794" y="2536"/>
                  <a:pt x="3794" y="2536"/>
                  <a:pt x="3794" y="2536"/>
                </a:cubicBezTo>
                <a:cubicBezTo>
                  <a:pt x="3838" y="2492"/>
                  <a:pt x="3861" y="2438"/>
                  <a:pt x="3861" y="2374"/>
                </a:cubicBezTo>
                <a:cubicBezTo>
                  <a:pt x="3860" y="2311"/>
                  <a:pt x="3838" y="2257"/>
                  <a:pt x="3794" y="2212"/>
                </a:cubicBezTo>
                <a:cubicBezTo>
                  <a:pt x="2526" y="954"/>
                  <a:pt x="2526" y="954"/>
                  <a:pt x="2526" y="954"/>
                </a:cubicBezTo>
                <a:cubicBezTo>
                  <a:pt x="2481" y="909"/>
                  <a:pt x="2427" y="887"/>
                  <a:pt x="2364" y="887"/>
                </a:cubicBezTo>
                <a:cubicBezTo>
                  <a:pt x="2300" y="887"/>
                  <a:pt x="2246" y="909"/>
                  <a:pt x="2202" y="954"/>
                </a:cubicBezTo>
                <a:cubicBezTo>
                  <a:pt x="934" y="2212"/>
                  <a:pt x="934" y="2212"/>
                  <a:pt x="934" y="2212"/>
                </a:cubicBezTo>
                <a:cubicBezTo>
                  <a:pt x="889" y="2257"/>
                  <a:pt x="867" y="2311"/>
                  <a:pt x="867" y="2374"/>
                </a:cubicBezTo>
                <a:cubicBezTo>
                  <a:pt x="867" y="2438"/>
                  <a:pt x="889" y="2492"/>
                  <a:pt x="934" y="2536"/>
                </a:cubicBezTo>
                <a:cubicBezTo>
                  <a:pt x="1039" y="2641"/>
                  <a:pt x="1039" y="2641"/>
                  <a:pt x="1039" y="2641"/>
                </a:cubicBezTo>
                <a:cubicBezTo>
                  <a:pt x="1083" y="2686"/>
                  <a:pt x="1139" y="2708"/>
                  <a:pt x="1206" y="2708"/>
                </a:cubicBezTo>
                <a:cubicBezTo>
                  <a:pt x="1272" y="2708"/>
                  <a:pt x="1328" y="2686"/>
                  <a:pt x="1372" y="2641"/>
                </a:cubicBezTo>
                <a:lnTo>
                  <a:pt x="2059" y="191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pfeil, arrow">
            <a:extLst>
              <a:ext uri="{FF2B5EF4-FFF2-40B4-BE49-F238E27FC236}">
                <a16:creationId xmlns:a16="http://schemas.microsoft.com/office/drawing/2014/main" id="{77BBCCEA-FD6F-C15B-7300-1353C870FFE1}"/>
              </a:ext>
            </a:extLst>
          </p:cNvPr>
          <p:cNvSpPr>
            <a:spLocks/>
          </p:cNvSpPr>
          <p:nvPr/>
        </p:nvSpPr>
        <p:spPr bwMode="auto">
          <a:xfrm rot="10800000" flipH="1">
            <a:off x="6383148" y="4229544"/>
            <a:ext cx="554672" cy="554672"/>
          </a:xfrm>
          <a:custGeom>
            <a:avLst/>
            <a:gdLst>
              <a:gd name="T0" fmla="*/ 319 w 4728"/>
              <a:gd name="T1" fmla="*/ 1183 h 4729"/>
              <a:gd name="T2" fmla="*/ 1182 w 4728"/>
              <a:gd name="T3" fmla="*/ 320 h 4729"/>
              <a:gd name="T4" fmla="*/ 2364 w 4728"/>
              <a:gd name="T5" fmla="*/ 0 h 4729"/>
              <a:gd name="T6" fmla="*/ 3546 w 4728"/>
              <a:gd name="T7" fmla="*/ 320 h 4729"/>
              <a:gd name="T8" fmla="*/ 4409 w 4728"/>
              <a:gd name="T9" fmla="*/ 1182 h 4729"/>
              <a:gd name="T10" fmla="*/ 4728 w 4728"/>
              <a:gd name="T11" fmla="*/ 2365 h 4729"/>
              <a:gd name="T12" fmla="*/ 4409 w 4728"/>
              <a:gd name="T13" fmla="*/ 3547 h 4729"/>
              <a:gd name="T14" fmla="*/ 3546 w 4728"/>
              <a:gd name="T15" fmla="*/ 4409 h 4729"/>
              <a:gd name="T16" fmla="*/ 2364 w 4728"/>
              <a:gd name="T17" fmla="*/ 4729 h 4729"/>
              <a:gd name="T18" fmla="*/ 1182 w 4728"/>
              <a:gd name="T19" fmla="*/ 4410 h 4729"/>
              <a:gd name="T20" fmla="*/ 319 w 4728"/>
              <a:gd name="T21" fmla="*/ 3547 h 4729"/>
              <a:gd name="T22" fmla="*/ 0 w 4728"/>
              <a:gd name="T23" fmla="*/ 2365 h 4729"/>
              <a:gd name="T24" fmla="*/ 319 w 4728"/>
              <a:gd name="T25" fmla="*/ 1183 h 4729"/>
              <a:gd name="T26" fmla="*/ 2059 w 4728"/>
              <a:gd name="T27" fmla="*/ 1917 h 4729"/>
              <a:gd name="T28" fmla="*/ 2059 w 4728"/>
              <a:gd name="T29" fmla="*/ 3661 h 4729"/>
              <a:gd name="T30" fmla="*/ 2126 w 4728"/>
              <a:gd name="T31" fmla="*/ 3823 h 4729"/>
              <a:gd name="T32" fmla="*/ 2288 w 4728"/>
              <a:gd name="T33" fmla="*/ 3890 h 4729"/>
              <a:gd name="T34" fmla="*/ 2440 w 4728"/>
              <a:gd name="T35" fmla="*/ 3890 h 4729"/>
              <a:gd name="T36" fmla="*/ 2602 w 4728"/>
              <a:gd name="T37" fmla="*/ 3823 h 4729"/>
              <a:gd name="T38" fmla="*/ 2669 w 4728"/>
              <a:gd name="T39" fmla="*/ 3661 h 4729"/>
              <a:gd name="T40" fmla="*/ 2669 w 4728"/>
              <a:gd name="T41" fmla="*/ 1917 h 4729"/>
              <a:gd name="T42" fmla="*/ 3355 w 4728"/>
              <a:gd name="T43" fmla="*/ 2641 h 4729"/>
              <a:gd name="T44" fmla="*/ 3522 w 4728"/>
              <a:gd name="T45" fmla="*/ 2708 h 4729"/>
              <a:gd name="T46" fmla="*/ 3689 w 4728"/>
              <a:gd name="T47" fmla="*/ 2641 h 4729"/>
              <a:gd name="T48" fmla="*/ 3794 w 4728"/>
              <a:gd name="T49" fmla="*/ 2536 h 4729"/>
              <a:gd name="T50" fmla="*/ 3861 w 4728"/>
              <a:gd name="T51" fmla="*/ 2374 h 4729"/>
              <a:gd name="T52" fmla="*/ 3794 w 4728"/>
              <a:gd name="T53" fmla="*/ 2212 h 4729"/>
              <a:gd name="T54" fmla="*/ 2526 w 4728"/>
              <a:gd name="T55" fmla="*/ 954 h 4729"/>
              <a:gd name="T56" fmla="*/ 2364 w 4728"/>
              <a:gd name="T57" fmla="*/ 887 h 4729"/>
              <a:gd name="T58" fmla="*/ 2202 w 4728"/>
              <a:gd name="T59" fmla="*/ 954 h 4729"/>
              <a:gd name="T60" fmla="*/ 934 w 4728"/>
              <a:gd name="T61" fmla="*/ 2212 h 4729"/>
              <a:gd name="T62" fmla="*/ 867 w 4728"/>
              <a:gd name="T63" fmla="*/ 2374 h 4729"/>
              <a:gd name="T64" fmla="*/ 934 w 4728"/>
              <a:gd name="T65" fmla="*/ 2536 h 4729"/>
              <a:gd name="T66" fmla="*/ 1039 w 4728"/>
              <a:gd name="T67" fmla="*/ 2641 h 4729"/>
              <a:gd name="T68" fmla="*/ 1206 w 4728"/>
              <a:gd name="T69" fmla="*/ 2708 h 4729"/>
              <a:gd name="T70" fmla="*/ 1372 w 4728"/>
              <a:gd name="T71" fmla="*/ 2641 h 4729"/>
              <a:gd name="T72" fmla="*/ 2059 w 4728"/>
              <a:gd name="T73" fmla="*/ 1917 h 47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728" h="4729">
                <a:moveTo>
                  <a:pt x="319" y="1183"/>
                </a:moveTo>
                <a:cubicBezTo>
                  <a:pt x="532" y="820"/>
                  <a:pt x="819" y="533"/>
                  <a:pt x="1182" y="320"/>
                </a:cubicBezTo>
                <a:cubicBezTo>
                  <a:pt x="1544" y="107"/>
                  <a:pt x="1938" y="0"/>
                  <a:pt x="2364" y="0"/>
                </a:cubicBezTo>
                <a:cubicBezTo>
                  <a:pt x="2790" y="0"/>
                  <a:pt x="3184" y="107"/>
                  <a:pt x="3546" y="320"/>
                </a:cubicBezTo>
                <a:cubicBezTo>
                  <a:pt x="3908" y="533"/>
                  <a:pt x="4196" y="820"/>
                  <a:pt x="4409" y="1182"/>
                </a:cubicBezTo>
                <a:cubicBezTo>
                  <a:pt x="4622" y="1545"/>
                  <a:pt x="4728" y="1939"/>
                  <a:pt x="4728" y="2365"/>
                </a:cubicBezTo>
                <a:cubicBezTo>
                  <a:pt x="4728" y="2790"/>
                  <a:pt x="4622" y="3184"/>
                  <a:pt x="4409" y="3547"/>
                </a:cubicBezTo>
                <a:cubicBezTo>
                  <a:pt x="4196" y="3909"/>
                  <a:pt x="3908" y="4197"/>
                  <a:pt x="3546" y="4409"/>
                </a:cubicBezTo>
                <a:cubicBezTo>
                  <a:pt x="3184" y="4622"/>
                  <a:pt x="2790" y="4729"/>
                  <a:pt x="2364" y="4729"/>
                </a:cubicBezTo>
                <a:cubicBezTo>
                  <a:pt x="1938" y="4729"/>
                  <a:pt x="1544" y="4622"/>
                  <a:pt x="1182" y="4410"/>
                </a:cubicBezTo>
                <a:cubicBezTo>
                  <a:pt x="820" y="4197"/>
                  <a:pt x="532" y="3909"/>
                  <a:pt x="319" y="3547"/>
                </a:cubicBezTo>
                <a:cubicBezTo>
                  <a:pt x="106" y="3185"/>
                  <a:pt x="0" y="2791"/>
                  <a:pt x="0" y="2365"/>
                </a:cubicBezTo>
                <a:cubicBezTo>
                  <a:pt x="0" y="1939"/>
                  <a:pt x="106" y="1545"/>
                  <a:pt x="319" y="1183"/>
                </a:cubicBezTo>
                <a:close/>
                <a:moveTo>
                  <a:pt x="2059" y="1917"/>
                </a:moveTo>
                <a:cubicBezTo>
                  <a:pt x="2059" y="3661"/>
                  <a:pt x="2059" y="3661"/>
                  <a:pt x="2059" y="3661"/>
                </a:cubicBezTo>
                <a:cubicBezTo>
                  <a:pt x="2059" y="3725"/>
                  <a:pt x="2081" y="3779"/>
                  <a:pt x="2126" y="3823"/>
                </a:cubicBezTo>
                <a:cubicBezTo>
                  <a:pt x="2170" y="3868"/>
                  <a:pt x="2224" y="3890"/>
                  <a:pt x="2288" y="3890"/>
                </a:cubicBezTo>
                <a:cubicBezTo>
                  <a:pt x="2440" y="3890"/>
                  <a:pt x="2440" y="3890"/>
                  <a:pt x="2440" y="3890"/>
                </a:cubicBezTo>
                <a:cubicBezTo>
                  <a:pt x="2504" y="3890"/>
                  <a:pt x="2558" y="3868"/>
                  <a:pt x="2602" y="3823"/>
                </a:cubicBezTo>
                <a:cubicBezTo>
                  <a:pt x="2647" y="3779"/>
                  <a:pt x="2669" y="3725"/>
                  <a:pt x="2669" y="3661"/>
                </a:cubicBezTo>
                <a:cubicBezTo>
                  <a:pt x="2669" y="1917"/>
                  <a:pt x="2669" y="1917"/>
                  <a:pt x="2669" y="1917"/>
                </a:cubicBezTo>
                <a:cubicBezTo>
                  <a:pt x="3355" y="2641"/>
                  <a:pt x="3355" y="2641"/>
                  <a:pt x="3355" y="2641"/>
                </a:cubicBezTo>
                <a:cubicBezTo>
                  <a:pt x="3400" y="2686"/>
                  <a:pt x="3455" y="2708"/>
                  <a:pt x="3522" y="2708"/>
                </a:cubicBezTo>
                <a:cubicBezTo>
                  <a:pt x="3589" y="2708"/>
                  <a:pt x="3644" y="2686"/>
                  <a:pt x="3689" y="2641"/>
                </a:cubicBezTo>
                <a:cubicBezTo>
                  <a:pt x="3794" y="2536"/>
                  <a:pt x="3794" y="2536"/>
                  <a:pt x="3794" y="2536"/>
                </a:cubicBezTo>
                <a:cubicBezTo>
                  <a:pt x="3838" y="2492"/>
                  <a:pt x="3861" y="2438"/>
                  <a:pt x="3861" y="2374"/>
                </a:cubicBezTo>
                <a:cubicBezTo>
                  <a:pt x="3860" y="2311"/>
                  <a:pt x="3838" y="2257"/>
                  <a:pt x="3794" y="2212"/>
                </a:cubicBezTo>
                <a:cubicBezTo>
                  <a:pt x="2526" y="954"/>
                  <a:pt x="2526" y="954"/>
                  <a:pt x="2526" y="954"/>
                </a:cubicBezTo>
                <a:cubicBezTo>
                  <a:pt x="2481" y="909"/>
                  <a:pt x="2427" y="887"/>
                  <a:pt x="2364" y="887"/>
                </a:cubicBezTo>
                <a:cubicBezTo>
                  <a:pt x="2300" y="887"/>
                  <a:pt x="2246" y="909"/>
                  <a:pt x="2202" y="954"/>
                </a:cubicBezTo>
                <a:cubicBezTo>
                  <a:pt x="934" y="2212"/>
                  <a:pt x="934" y="2212"/>
                  <a:pt x="934" y="2212"/>
                </a:cubicBezTo>
                <a:cubicBezTo>
                  <a:pt x="889" y="2257"/>
                  <a:pt x="867" y="2311"/>
                  <a:pt x="867" y="2374"/>
                </a:cubicBezTo>
                <a:cubicBezTo>
                  <a:pt x="867" y="2438"/>
                  <a:pt x="889" y="2492"/>
                  <a:pt x="934" y="2536"/>
                </a:cubicBezTo>
                <a:cubicBezTo>
                  <a:pt x="1039" y="2641"/>
                  <a:pt x="1039" y="2641"/>
                  <a:pt x="1039" y="2641"/>
                </a:cubicBezTo>
                <a:cubicBezTo>
                  <a:pt x="1083" y="2686"/>
                  <a:pt x="1139" y="2708"/>
                  <a:pt x="1206" y="2708"/>
                </a:cubicBezTo>
                <a:cubicBezTo>
                  <a:pt x="1272" y="2708"/>
                  <a:pt x="1328" y="2686"/>
                  <a:pt x="1372" y="2641"/>
                </a:cubicBezTo>
                <a:lnTo>
                  <a:pt x="2059" y="191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Ellipse 4">
            <a:extLst>
              <a:ext uri="{FF2B5EF4-FFF2-40B4-BE49-F238E27FC236}">
                <a16:creationId xmlns:a16="http://schemas.microsoft.com/office/drawing/2014/main" id="{88E7C2BB-BC00-9C12-A74D-4EDF2958A160}"/>
              </a:ext>
            </a:extLst>
          </p:cNvPr>
          <p:cNvSpPr>
            <a:spLocks/>
          </p:cNvSpPr>
          <p:nvPr/>
        </p:nvSpPr>
        <p:spPr>
          <a:xfrm>
            <a:off x="419100" y="2239328"/>
            <a:ext cx="554672" cy="55467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Ellipse 5">
            <a:extLst>
              <a:ext uri="{FF2B5EF4-FFF2-40B4-BE49-F238E27FC236}">
                <a16:creationId xmlns:a16="http://schemas.microsoft.com/office/drawing/2014/main" id="{49B2BD32-1B52-570B-7398-40ECAADD6204}"/>
              </a:ext>
            </a:extLst>
          </p:cNvPr>
          <p:cNvSpPr>
            <a:spLocks/>
          </p:cNvSpPr>
          <p:nvPr/>
        </p:nvSpPr>
        <p:spPr>
          <a:xfrm>
            <a:off x="1081772" y="2239328"/>
            <a:ext cx="554672" cy="55467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1" name="Ellipse 6">
            <a:extLst>
              <a:ext uri="{FF2B5EF4-FFF2-40B4-BE49-F238E27FC236}">
                <a16:creationId xmlns:a16="http://schemas.microsoft.com/office/drawing/2014/main" id="{27C70542-5458-98B1-0C43-4DA844990C42}"/>
              </a:ext>
            </a:extLst>
          </p:cNvPr>
          <p:cNvSpPr>
            <a:spLocks/>
          </p:cNvSpPr>
          <p:nvPr/>
        </p:nvSpPr>
        <p:spPr>
          <a:xfrm>
            <a:off x="1744444" y="2239328"/>
            <a:ext cx="554672" cy="55467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" name="Ellipse 7">
            <a:extLst>
              <a:ext uri="{FF2B5EF4-FFF2-40B4-BE49-F238E27FC236}">
                <a16:creationId xmlns:a16="http://schemas.microsoft.com/office/drawing/2014/main" id="{A8D610DF-D33D-9BEC-59C8-A6BF14F838F0}"/>
              </a:ext>
            </a:extLst>
          </p:cNvPr>
          <p:cNvSpPr>
            <a:spLocks/>
          </p:cNvSpPr>
          <p:nvPr/>
        </p:nvSpPr>
        <p:spPr>
          <a:xfrm>
            <a:off x="2407116" y="2239328"/>
            <a:ext cx="554672" cy="55467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3" name="Ellipse 8">
            <a:extLst>
              <a:ext uri="{FF2B5EF4-FFF2-40B4-BE49-F238E27FC236}">
                <a16:creationId xmlns:a16="http://schemas.microsoft.com/office/drawing/2014/main" id="{EB74BFC4-8C2C-1F38-0FA4-4BA5D235A038}"/>
              </a:ext>
            </a:extLst>
          </p:cNvPr>
          <p:cNvSpPr>
            <a:spLocks/>
          </p:cNvSpPr>
          <p:nvPr/>
        </p:nvSpPr>
        <p:spPr>
          <a:xfrm>
            <a:off x="3069788" y="2239328"/>
            <a:ext cx="554672" cy="55467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4" name="Ellipse 9">
            <a:extLst>
              <a:ext uri="{FF2B5EF4-FFF2-40B4-BE49-F238E27FC236}">
                <a16:creationId xmlns:a16="http://schemas.microsoft.com/office/drawing/2014/main" id="{AEA38A6B-1798-0698-874A-A60720EBE6A1}"/>
              </a:ext>
            </a:extLst>
          </p:cNvPr>
          <p:cNvSpPr>
            <a:spLocks/>
          </p:cNvSpPr>
          <p:nvPr/>
        </p:nvSpPr>
        <p:spPr>
          <a:xfrm>
            <a:off x="3732460" y="2239328"/>
            <a:ext cx="554672" cy="55467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5" name="Ellipse 10">
            <a:extLst>
              <a:ext uri="{FF2B5EF4-FFF2-40B4-BE49-F238E27FC236}">
                <a16:creationId xmlns:a16="http://schemas.microsoft.com/office/drawing/2014/main" id="{8BF95910-5AC6-8683-04E6-88F2CF0B64C3}"/>
              </a:ext>
            </a:extLst>
          </p:cNvPr>
          <p:cNvSpPr>
            <a:spLocks/>
          </p:cNvSpPr>
          <p:nvPr/>
        </p:nvSpPr>
        <p:spPr>
          <a:xfrm>
            <a:off x="4395132" y="2239328"/>
            <a:ext cx="554672" cy="55467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16" name="Ellipse 11">
            <a:extLst>
              <a:ext uri="{FF2B5EF4-FFF2-40B4-BE49-F238E27FC236}">
                <a16:creationId xmlns:a16="http://schemas.microsoft.com/office/drawing/2014/main" id="{2A9D4E54-8B88-44D8-AB0D-85B3A3C8CDB9}"/>
              </a:ext>
            </a:extLst>
          </p:cNvPr>
          <p:cNvSpPr>
            <a:spLocks/>
          </p:cNvSpPr>
          <p:nvPr/>
        </p:nvSpPr>
        <p:spPr>
          <a:xfrm>
            <a:off x="5057804" y="2239328"/>
            <a:ext cx="554672" cy="55467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7" name="Ellipse 12">
            <a:extLst>
              <a:ext uri="{FF2B5EF4-FFF2-40B4-BE49-F238E27FC236}">
                <a16:creationId xmlns:a16="http://schemas.microsoft.com/office/drawing/2014/main" id="{0699BE6E-B39F-2FB9-3B72-5C13890E2DF1}"/>
              </a:ext>
            </a:extLst>
          </p:cNvPr>
          <p:cNvSpPr>
            <a:spLocks/>
          </p:cNvSpPr>
          <p:nvPr/>
        </p:nvSpPr>
        <p:spPr>
          <a:xfrm>
            <a:off x="5720476" y="2239328"/>
            <a:ext cx="554672" cy="55467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18" name="Ellipse 13">
            <a:extLst>
              <a:ext uri="{FF2B5EF4-FFF2-40B4-BE49-F238E27FC236}">
                <a16:creationId xmlns:a16="http://schemas.microsoft.com/office/drawing/2014/main" id="{1C00FFE9-912A-3379-4F34-FD39910FC63F}"/>
              </a:ext>
            </a:extLst>
          </p:cNvPr>
          <p:cNvSpPr>
            <a:spLocks/>
          </p:cNvSpPr>
          <p:nvPr/>
        </p:nvSpPr>
        <p:spPr>
          <a:xfrm>
            <a:off x="6383148" y="2239328"/>
            <a:ext cx="554672" cy="55467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19" name="Haken, check">
            <a:extLst>
              <a:ext uri="{FF2B5EF4-FFF2-40B4-BE49-F238E27FC236}">
                <a16:creationId xmlns:a16="http://schemas.microsoft.com/office/drawing/2014/main" id="{A8E34220-15E2-6B3F-FAAE-F36138F0C87E}"/>
              </a:ext>
            </a:extLst>
          </p:cNvPr>
          <p:cNvSpPr>
            <a:spLocks/>
          </p:cNvSpPr>
          <p:nvPr/>
        </p:nvSpPr>
        <p:spPr bwMode="auto">
          <a:xfrm>
            <a:off x="419100" y="4229544"/>
            <a:ext cx="554672" cy="554672"/>
          </a:xfrm>
          <a:custGeom>
            <a:avLst/>
            <a:gdLst>
              <a:gd name="T0" fmla="*/ 4549 w 4878"/>
              <a:gd name="T1" fmla="*/ 3658 h 4877"/>
              <a:gd name="T2" fmla="*/ 3659 w 4878"/>
              <a:gd name="T3" fmla="*/ 4548 h 4877"/>
              <a:gd name="T4" fmla="*/ 2439 w 4878"/>
              <a:gd name="T5" fmla="*/ 4877 h 4877"/>
              <a:gd name="T6" fmla="*/ 1220 w 4878"/>
              <a:gd name="T7" fmla="*/ 4548 h 4877"/>
              <a:gd name="T8" fmla="*/ 330 w 4878"/>
              <a:gd name="T9" fmla="*/ 3658 h 4877"/>
              <a:gd name="T10" fmla="*/ 0 w 4878"/>
              <a:gd name="T11" fmla="*/ 2439 h 4877"/>
              <a:gd name="T12" fmla="*/ 330 w 4878"/>
              <a:gd name="T13" fmla="*/ 1219 h 4877"/>
              <a:gd name="T14" fmla="*/ 1220 w 4878"/>
              <a:gd name="T15" fmla="*/ 329 h 4877"/>
              <a:gd name="T16" fmla="*/ 2439 w 4878"/>
              <a:gd name="T17" fmla="*/ 0 h 4877"/>
              <a:gd name="T18" fmla="*/ 3659 w 4878"/>
              <a:gd name="T19" fmla="*/ 329 h 4877"/>
              <a:gd name="T20" fmla="*/ 4549 w 4878"/>
              <a:gd name="T21" fmla="*/ 1219 h 4877"/>
              <a:gd name="T22" fmla="*/ 4878 w 4878"/>
              <a:gd name="T23" fmla="*/ 2439 h 4877"/>
              <a:gd name="T24" fmla="*/ 4549 w 4878"/>
              <a:gd name="T25" fmla="*/ 3658 h 4877"/>
              <a:gd name="T26" fmla="*/ 3963 w 4878"/>
              <a:gd name="T27" fmla="*/ 1917 h 4877"/>
              <a:gd name="T28" fmla="*/ 4013 w 4878"/>
              <a:gd name="T29" fmla="*/ 1809 h 4877"/>
              <a:gd name="T30" fmla="*/ 3963 w 4878"/>
              <a:gd name="T31" fmla="*/ 1701 h 4877"/>
              <a:gd name="T32" fmla="*/ 3747 w 4878"/>
              <a:gd name="T33" fmla="*/ 1475 h 4877"/>
              <a:gd name="T34" fmla="*/ 3634 w 4878"/>
              <a:gd name="T35" fmla="*/ 1426 h 4877"/>
              <a:gd name="T36" fmla="*/ 3521 w 4878"/>
              <a:gd name="T37" fmla="*/ 1475 h 4877"/>
              <a:gd name="T38" fmla="*/ 2046 w 4878"/>
              <a:gd name="T39" fmla="*/ 2950 h 4877"/>
              <a:gd name="T40" fmla="*/ 1358 w 4878"/>
              <a:gd name="T41" fmla="*/ 2262 h 4877"/>
              <a:gd name="T42" fmla="*/ 1244 w 4878"/>
              <a:gd name="T43" fmla="*/ 2212 h 4877"/>
              <a:gd name="T44" fmla="*/ 1131 w 4878"/>
              <a:gd name="T45" fmla="*/ 2262 h 4877"/>
              <a:gd name="T46" fmla="*/ 915 w 4878"/>
              <a:gd name="T47" fmla="*/ 2488 h 4877"/>
              <a:gd name="T48" fmla="*/ 866 w 4878"/>
              <a:gd name="T49" fmla="*/ 2596 h 4877"/>
              <a:gd name="T50" fmla="*/ 915 w 4878"/>
              <a:gd name="T51" fmla="*/ 2704 h 4877"/>
              <a:gd name="T52" fmla="*/ 1938 w 4878"/>
              <a:gd name="T53" fmla="*/ 3727 h 4877"/>
              <a:gd name="T54" fmla="*/ 2046 w 4878"/>
              <a:gd name="T55" fmla="*/ 3776 h 4877"/>
              <a:gd name="T56" fmla="*/ 2154 w 4878"/>
              <a:gd name="T57" fmla="*/ 3727 h 4877"/>
              <a:gd name="T58" fmla="*/ 3963 w 4878"/>
              <a:gd name="T59" fmla="*/ 1917 h 4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4878" h="4877">
                <a:moveTo>
                  <a:pt x="4549" y="3658"/>
                </a:moveTo>
                <a:cubicBezTo>
                  <a:pt x="4329" y="4032"/>
                  <a:pt x="4032" y="4328"/>
                  <a:pt x="3659" y="4548"/>
                </a:cubicBezTo>
                <a:cubicBezTo>
                  <a:pt x="3285" y="4768"/>
                  <a:pt x="2879" y="4877"/>
                  <a:pt x="2439" y="4877"/>
                </a:cubicBezTo>
                <a:cubicBezTo>
                  <a:pt x="2000" y="4877"/>
                  <a:pt x="1594" y="4768"/>
                  <a:pt x="1220" y="4548"/>
                </a:cubicBezTo>
                <a:cubicBezTo>
                  <a:pt x="846" y="4328"/>
                  <a:pt x="550" y="4032"/>
                  <a:pt x="330" y="3658"/>
                </a:cubicBezTo>
                <a:cubicBezTo>
                  <a:pt x="110" y="3284"/>
                  <a:pt x="0" y="2878"/>
                  <a:pt x="0" y="2439"/>
                </a:cubicBezTo>
                <a:cubicBezTo>
                  <a:pt x="0" y="1999"/>
                  <a:pt x="110" y="1593"/>
                  <a:pt x="330" y="1219"/>
                </a:cubicBezTo>
                <a:cubicBezTo>
                  <a:pt x="550" y="846"/>
                  <a:pt x="846" y="549"/>
                  <a:pt x="1220" y="329"/>
                </a:cubicBezTo>
                <a:cubicBezTo>
                  <a:pt x="1594" y="110"/>
                  <a:pt x="2000" y="0"/>
                  <a:pt x="2439" y="0"/>
                </a:cubicBezTo>
                <a:cubicBezTo>
                  <a:pt x="2879" y="0"/>
                  <a:pt x="3285" y="110"/>
                  <a:pt x="3659" y="329"/>
                </a:cubicBezTo>
                <a:cubicBezTo>
                  <a:pt x="4032" y="549"/>
                  <a:pt x="4329" y="846"/>
                  <a:pt x="4549" y="1219"/>
                </a:cubicBezTo>
                <a:cubicBezTo>
                  <a:pt x="4768" y="1593"/>
                  <a:pt x="4878" y="1999"/>
                  <a:pt x="4878" y="2439"/>
                </a:cubicBezTo>
                <a:cubicBezTo>
                  <a:pt x="4878" y="2878"/>
                  <a:pt x="4768" y="3284"/>
                  <a:pt x="4549" y="3658"/>
                </a:cubicBezTo>
                <a:close/>
                <a:moveTo>
                  <a:pt x="3963" y="1917"/>
                </a:moveTo>
                <a:cubicBezTo>
                  <a:pt x="3996" y="1891"/>
                  <a:pt x="4013" y="1855"/>
                  <a:pt x="4013" y="1809"/>
                </a:cubicBezTo>
                <a:cubicBezTo>
                  <a:pt x="4013" y="1763"/>
                  <a:pt x="3996" y="1727"/>
                  <a:pt x="3963" y="1701"/>
                </a:cubicBezTo>
                <a:cubicBezTo>
                  <a:pt x="3747" y="1475"/>
                  <a:pt x="3747" y="1475"/>
                  <a:pt x="3747" y="1475"/>
                </a:cubicBezTo>
                <a:cubicBezTo>
                  <a:pt x="3714" y="1442"/>
                  <a:pt x="3677" y="1426"/>
                  <a:pt x="3634" y="1426"/>
                </a:cubicBezTo>
                <a:cubicBezTo>
                  <a:pt x="3591" y="1426"/>
                  <a:pt x="3554" y="1442"/>
                  <a:pt x="3521" y="1475"/>
                </a:cubicBezTo>
                <a:cubicBezTo>
                  <a:pt x="2046" y="2950"/>
                  <a:pt x="2046" y="2950"/>
                  <a:pt x="2046" y="2950"/>
                </a:cubicBezTo>
                <a:cubicBezTo>
                  <a:pt x="1358" y="2262"/>
                  <a:pt x="1358" y="2262"/>
                  <a:pt x="1358" y="2262"/>
                </a:cubicBezTo>
                <a:cubicBezTo>
                  <a:pt x="1325" y="2229"/>
                  <a:pt x="1287" y="2212"/>
                  <a:pt x="1244" y="2212"/>
                </a:cubicBezTo>
                <a:cubicBezTo>
                  <a:pt x="1202" y="2212"/>
                  <a:pt x="1164" y="2229"/>
                  <a:pt x="1131" y="2262"/>
                </a:cubicBezTo>
                <a:cubicBezTo>
                  <a:pt x="915" y="2488"/>
                  <a:pt x="915" y="2488"/>
                  <a:pt x="915" y="2488"/>
                </a:cubicBezTo>
                <a:cubicBezTo>
                  <a:pt x="882" y="2514"/>
                  <a:pt x="866" y="2550"/>
                  <a:pt x="866" y="2596"/>
                </a:cubicBezTo>
                <a:cubicBezTo>
                  <a:pt x="866" y="2642"/>
                  <a:pt x="882" y="2678"/>
                  <a:pt x="915" y="2704"/>
                </a:cubicBezTo>
                <a:cubicBezTo>
                  <a:pt x="1938" y="3727"/>
                  <a:pt x="1938" y="3727"/>
                  <a:pt x="1938" y="3727"/>
                </a:cubicBezTo>
                <a:cubicBezTo>
                  <a:pt x="1964" y="3760"/>
                  <a:pt x="2000" y="3776"/>
                  <a:pt x="2046" y="3776"/>
                </a:cubicBezTo>
                <a:cubicBezTo>
                  <a:pt x="2092" y="3776"/>
                  <a:pt x="2128" y="3760"/>
                  <a:pt x="2154" y="3727"/>
                </a:cubicBezTo>
                <a:lnTo>
                  <a:pt x="3963" y="191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Cross, kreuz">
            <a:extLst>
              <a:ext uri="{FF2B5EF4-FFF2-40B4-BE49-F238E27FC236}">
                <a16:creationId xmlns:a16="http://schemas.microsoft.com/office/drawing/2014/main" id="{4D05C540-98BE-567D-8A27-44DD85622DA4}"/>
              </a:ext>
            </a:extLst>
          </p:cNvPr>
          <p:cNvSpPr>
            <a:spLocks/>
          </p:cNvSpPr>
          <p:nvPr/>
        </p:nvSpPr>
        <p:spPr bwMode="auto">
          <a:xfrm>
            <a:off x="1081772" y="4229544"/>
            <a:ext cx="554672" cy="554672"/>
          </a:xfrm>
          <a:custGeom>
            <a:avLst/>
            <a:gdLst>
              <a:gd name="T0" fmla="*/ 2438 w 4877"/>
              <a:gd name="T1" fmla="*/ 0 h 4877"/>
              <a:gd name="T2" fmla="*/ 3658 w 4877"/>
              <a:gd name="T3" fmla="*/ 329 h 4877"/>
              <a:gd name="T4" fmla="*/ 4548 w 4877"/>
              <a:gd name="T5" fmla="*/ 1219 h 4877"/>
              <a:gd name="T6" fmla="*/ 4877 w 4877"/>
              <a:gd name="T7" fmla="*/ 2439 h 4877"/>
              <a:gd name="T8" fmla="*/ 4548 w 4877"/>
              <a:gd name="T9" fmla="*/ 3658 h 4877"/>
              <a:gd name="T10" fmla="*/ 3658 w 4877"/>
              <a:gd name="T11" fmla="*/ 4548 h 4877"/>
              <a:gd name="T12" fmla="*/ 2438 w 4877"/>
              <a:gd name="T13" fmla="*/ 4877 h 4877"/>
              <a:gd name="T14" fmla="*/ 1219 w 4877"/>
              <a:gd name="T15" fmla="*/ 4548 h 4877"/>
              <a:gd name="T16" fmla="*/ 329 w 4877"/>
              <a:gd name="T17" fmla="*/ 3658 h 4877"/>
              <a:gd name="T18" fmla="*/ 0 w 4877"/>
              <a:gd name="T19" fmla="*/ 2439 h 4877"/>
              <a:gd name="T20" fmla="*/ 329 w 4877"/>
              <a:gd name="T21" fmla="*/ 1219 h 4877"/>
              <a:gd name="T22" fmla="*/ 1219 w 4877"/>
              <a:gd name="T23" fmla="*/ 329 h 4877"/>
              <a:gd name="T24" fmla="*/ 2438 w 4877"/>
              <a:gd name="T25" fmla="*/ 0 h 4877"/>
              <a:gd name="T26" fmla="*/ 3638 w 4877"/>
              <a:gd name="T27" fmla="*/ 3078 h 4877"/>
              <a:gd name="T28" fmla="*/ 2989 w 4877"/>
              <a:gd name="T29" fmla="*/ 2439 h 4877"/>
              <a:gd name="T30" fmla="*/ 3638 w 4877"/>
              <a:gd name="T31" fmla="*/ 1799 h 4877"/>
              <a:gd name="T32" fmla="*/ 3668 w 4877"/>
              <a:gd name="T33" fmla="*/ 1716 h 4877"/>
              <a:gd name="T34" fmla="*/ 3638 w 4877"/>
              <a:gd name="T35" fmla="*/ 1632 h 4877"/>
              <a:gd name="T36" fmla="*/ 3245 w 4877"/>
              <a:gd name="T37" fmla="*/ 1239 h 4877"/>
              <a:gd name="T38" fmla="*/ 3166 w 4877"/>
              <a:gd name="T39" fmla="*/ 1209 h 4877"/>
              <a:gd name="T40" fmla="*/ 3078 w 4877"/>
              <a:gd name="T41" fmla="*/ 1239 h 4877"/>
              <a:gd name="T42" fmla="*/ 2438 w 4877"/>
              <a:gd name="T43" fmla="*/ 1888 h 4877"/>
              <a:gd name="T44" fmla="*/ 1799 w 4877"/>
              <a:gd name="T45" fmla="*/ 1239 h 4877"/>
              <a:gd name="T46" fmla="*/ 1716 w 4877"/>
              <a:gd name="T47" fmla="*/ 1209 h 4877"/>
              <a:gd name="T48" fmla="*/ 1632 w 4877"/>
              <a:gd name="T49" fmla="*/ 1239 h 4877"/>
              <a:gd name="T50" fmla="*/ 1239 w 4877"/>
              <a:gd name="T51" fmla="*/ 1632 h 4877"/>
              <a:gd name="T52" fmla="*/ 1209 w 4877"/>
              <a:gd name="T53" fmla="*/ 1711 h 4877"/>
              <a:gd name="T54" fmla="*/ 1239 w 4877"/>
              <a:gd name="T55" fmla="*/ 1799 h 4877"/>
              <a:gd name="T56" fmla="*/ 1888 w 4877"/>
              <a:gd name="T57" fmla="*/ 2439 h 4877"/>
              <a:gd name="T58" fmla="*/ 1239 w 4877"/>
              <a:gd name="T59" fmla="*/ 3078 h 4877"/>
              <a:gd name="T60" fmla="*/ 1209 w 4877"/>
              <a:gd name="T61" fmla="*/ 3161 h 4877"/>
              <a:gd name="T62" fmla="*/ 1239 w 4877"/>
              <a:gd name="T63" fmla="*/ 3245 h 4877"/>
              <a:gd name="T64" fmla="*/ 1632 w 4877"/>
              <a:gd name="T65" fmla="*/ 3638 h 4877"/>
              <a:gd name="T66" fmla="*/ 1711 w 4877"/>
              <a:gd name="T67" fmla="*/ 3668 h 4877"/>
              <a:gd name="T68" fmla="*/ 1799 w 4877"/>
              <a:gd name="T69" fmla="*/ 3638 h 4877"/>
              <a:gd name="T70" fmla="*/ 2438 w 4877"/>
              <a:gd name="T71" fmla="*/ 2989 h 4877"/>
              <a:gd name="T72" fmla="*/ 3078 w 4877"/>
              <a:gd name="T73" fmla="*/ 3638 h 4877"/>
              <a:gd name="T74" fmla="*/ 3161 w 4877"/>
              <a:gd name="T75" fmla="*/ 3668 h 4877"/>
              <a:gd name="T76" fmla="*/ 3245 w 4877"/>
              <a:gd name="T77" fmla="*/ 3638 h 4877"/>
              <a:gd name="T78" fmla="*/ 3638 w 4877"/>
              <a:gd name="T79" fmla="*/ 3245 h 4877"/>
              <a:gd name="T80" fmla="*/ 3668 w 4877"/>
              <a:gd name="T81" fmla="*/ 3166 h 4877"/>
              <a:gd name="T82" fmla="*/ 3638 w 4877"/>
              <a:gd name="T83" fmla="*/ 3078 h 4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4877" h="4877">
                <a:moveTo>
                  <a:pt x="2438" y="0"/>
                </a:moveTo>
                <a:cubicBezTo>
                  <a:pt x="2878" y="0"/>
                  <a:pt x="3284" y="110"/>
                  <a:pt x="3658" y="329"/>
                </a:cubicBezTo>
                <a:cubicBezTo>
                  <a:pt x="4032" y="549"/>
                  <a:pt x="4328" y="846"/>
                  <a:pt x="4548" y="1219"/>
                </a:cubicBezTo>
                <a:cubicBezTo>
                  <a:pt x="4767" y="1593"/>
                  <a:pt x="4877" y="1999"/>
                  <a:pt x="4877" y="2439"/>
                </a:cubicBezTo>
                <a:cubicBezTo>
                  <a:pt x="4877" y="2878"/>
                  <a:pt x="4767" y="3284"/>
                  <a:pt x="4548" y="3658"/>
                </a:cubicBezTo>
                <a:cubicBezTo>
                  <a:pt x="4328" y="4032"/>
                  <a:pt x="4032" y="4328"/>
                  <a:pt x="3658" y="4548"/>
                </a:cubicBezTo>
                <a:cubicBezTo>
                  <a:pt x="3284" y="4768"/>
                  <a:pt x="2878" y="4877"/>
                  <a:pt x="2438" y="4877"/>
                </a:cubicBezTo>
                <a:cubicBezTo>
                  <a:pt x="1999" y="4877"/>
                  <a:pt x="1593" y="4768"/>
                  <a:pt x="1219" y="4548"/>
                </a:cubicBezTo>
                <a:cubicBezTo>
                  <a:pt x="845" y="4328"/>
                  <a:pt x="549" y="4032"/>
                  <a:pt x="329" y="3658"/>
                </a:cubicBezTo>
                <a:cubicBezTo>
                  <a:pt x="109" y="3284"/>
                  <a:pt x="0" y="2878"/>
                  <a:pt x="0" y="2439"/>
                </a:cubicBezTo>
                <a:cubicBezTo>
                  <a:pt x="0" y="1999"/>
                  <a:pt x="109" y="1593"/>
                  <a:pt x="329" y="1219"/>
                </a:cubicBezTo>
                <a:cubicBezTo>
                  <a:pt x="549" y="846"/>
                  <a:pt x="845" y="549"/>
                  <a:pt x="1219" y="329"/>
                </a:cubicBezTo>
                <a:cubicBezTo>
                  <a:pt x="1593" y="110"/>
                  <a:pt x="1999" y="0"/>
                  <a:pt x="2438" y="0"/>
                </a:cubicBezTo>
                <a:close/>
                <a:moveTo>
                  <a:pt x="3638" y="3078"/>
                </a:moveTo>
                <a:cubicBezTo>
                  <a:pt x="2989" y="2439"/>
                  <a:pt x="2989" y="2439"/>
                  <a:pt x="2989" y="2439"/>
                </a:cubicBezTo>
                <a:cubicBezTo>
                  <a:pt x="3638" y="1799"/>
                  <a:pt x="3638" y="1799"/>
                  <a:pt x="3638" y="1799"/>
                </a:cubicBezTo>
                <a:cubicBezTo>
                  <a:pt x="3658" y="1773"/>
                  <a:pt x="3668" y="1745"/>
                  <a:pt x="3668" y="1716"/>
                </a:cubicBezTo>
                <a:cubicBezTo>
                  <a:pt x="3668" y="1686"/>
                  <a:pt x="3658" y="1659"/>
                  <a:pt x="3638" y="1632"/>
                </a:cubicBezTo>
                <a:cubicBezTo>
                  <a:pt x="3245" y="1239"/>
                  <a:pt x="3245" y="1239"/>
                  <a:pt x="3245" y="1239"/>
                </a:cubicBezTo>
                <a:cubicBezTo>
                  <a:pt x="3225" y="1219"/>
                  <a:pt x="3199" y="1209"/>
                  <a:pt x="3166" y="1209"/>
                </a:cubicBezTo>
                <a:cubicBezTo>
                  <a:pt x="3133" y="1209"/>
                  <a:pt x="3104" y="1219"/>
                  <a:pt x="3078" y="1239"/>
                </a:cubicBezTo>
                <a:cubicBezTo>
                  <a:pt x="2438" y="1888"/>
                  <a:pt x="2438" y="1888"/>
                  <a:pt x="2438" y="1888"/>
                </a:cubicBezTo>
                <a:cubicBezTo>
                  <a:pt x="1799" y="1239"/>
                  <a:pt x="1799" y="1239"/>
                  <a:pt x="1799" y="1239"/>
                </a:cubicBezTo>
                <a:cubicBezTo>
                  <a:pt x="1773" y="1219"/>
                  <a:pt x="1745" y="1209"/>
                  <a:pt x="1716" y="1209"/>
                </a:cubicBezTo>
                <a:cubicBezTo>
                  <a:pt x="1686" y="1209"/>
                  <a:pt x="1658" y="1219"/>
                  <a:pt x="1632" y="1239"/>
                </a:cubicBezTo>
                <a:cubicBezTo>
                  <a:pt x="1239" y="1632"/>
                  <a:pt x="1239" y="1632"/>
                  <a:pt x="1239" y="1632"/>
                </a:cubicBezTo>
                <a:cubicBezTo>
                  <a:pt x="1219" y="1652"/>
                  <a:pt x="1209" y="1678"/>
                  <a:pt x="1209" y="1711"/>
                </a:cubicBezTo>
                <a:cubicBezTo>
                  <a:pt x="1209" y="1744"/>
                  <a:pt x="1219" y="1773"/>
                  <a:pt x="1239" y="1799"/>
                </a:cubicBezTo>
                <a:cubicBezTo>
                  <a:pt x="1888" y="2439"/>
                  <a:pt x="1888" y="2439"/>
                  <a:pt x="1888" y="2439"/>
                </a:cubicBezTo>
                <a:cubicBezTo>
                  <a:pt x="1239" y="3078"/>
                  <a:pt x="1239" y="3078"/>
                  <a:pt x="1239" y="3078"/>
                </a:cubicBezTo>
                <a:cubicBezTo>
                  <a:pt x="1219" y="3104"/>
                  <a:pt x="1209" y="3132"/>
                  <a:pt x="1209" y="3161"/>
                </a:cubicBezTo>
                <a:cubicBezTo>
                  <a:pt x="1209" y="3191"/>
                  <a:pt x="1219" y="3219"/>
                  <a:pt x="1239" y="3245"/>
                </a:cubicBezTo>
                <a:cubicBezTo>
                  <a:pt x="1632" y="3638"/>
                  <a:pt x="1632" y="3638"/>
                  <a:pt x="1632" y="3638"/>
                </a:cubicBezTo>
                <a:cubicBezTo>
                  <a:pt x="1652" y="3658"/>
                  <a:pt x="1678" y="3668"/>
                  <a:pt x="1711" y="3668"/>
                </a:cubicBezTo>
                <a:cubicBezTo>
                  <a:pt x="1744" y="3668"/>
                  <a:pt x="1773" y="3658"/>
                  <a:pt x="1799" y="3638"/>
                </a:cubicBezTo>
                <a:cubicBezTo>
                  <a:pt x="2438" y="2989"/>
                  <a:pt x="2438" y="2989"/>
                  <a:pt x="2438" y="2989"/>
                </a:cubicBezTo>
                <a:cubicBezTo>
                  <a:pt x="3078" y="3638"/>
                  <a:pt x="3078" y="3638"/>
                  <a:pt x="3078" y="3638"/>
                </a:cubicBezTo>
                <a:cubicBezTo>
                  <a:pt x="3104" y="3658"/>
                  <a:pt x="3132" y="3668"/>
                  <a:pt x="3161" y="3668"/>
                </a:cubicBezTo>
                <a:cubicBezTo>
                  <a:pt x="3191" y="3668"/>
                  <a:pt x="3219" y="3658"/>
                  <a:pt x="3245" y="3638"/>
                </a:cubicBezTo>
                <a:cubicBezTo>
                  <a:pt x="3638" y="3245"/>
                  <a:pt x="3638" y="3245"/>
                  <a:pt x="3638" y="3245"/>
                </a:cubicBezTo>
                <a:cubicBezTo>
                  <a:pt x="3658" y="3225"/>
                  <a:pt x="3668" y="3199"/>
                  <a:pt x="3668" y="3166"/>
                </a:cubicBezTo>
                <a:cubicBezTo>
                  <a:pt x="3668" y="3134"/>
                  <a:pt x="3658" y="3104"/>
                  <a:pt x="3638" y="30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Minus">
            <a:extLst>
              <a:ext uri="{FF2B5EF4-FFF2-40B4-BE49-F238E27FC236}">
                <a16:creationId xmlns:a16="http://schemas.microsoft.com/office/drawing/2014/main" id="{02E7B17D-8AD8-39DD-219E-90B0171A1800}"/>
              </a:ext>
            </a:extLst>
          </p:cNvPr>
          <p:cNvSpPr>
            <a:spLocks/>
          </p:cNvSpPr>
          <p:nvPr/>
        </p:nvSpPr>
        <p:spPr bwMode="auto">
          <a:xfrm>
            <a:off x="2407116" y="4229544"/>
            <a:ext cx="554672" cy="554672"/>
          </a:xfrm>
          <a:custGeom>
            <a:avLst/>
            <a:gdLst>
              <a:gd name="T0" fmla="*/ 2439 w 4877"/>
              <a:gd name="T1" fmla="*/ 0 h 4877"/>
              <a:gd name="T2" fmla="*/ 3658 w 4877"/>
              <a:gd name="T3" fmla="*/ 329 h 4877"/>
              <a:gd name="T4" fmla="*/ 4548 w 4877"/>
              <a:gd name="T5" fmla="*/ 1219 h 4877"/>
              <a:gd name="T6" fmla="*/ 4877 w 4877"/>
              <a:gd name="T7" fmla="*/ 2439 h 4877"/>
              <a:gd name="T8" fmla="*/ 4548 w 4877"/>
              <a:gd name="T9" fmla="*/ 3658 h 4877"/>
              <a:gd name="T10" fmla="*/ 3658 w 4877"/>
              <a:gd name="T11" fmla="*/ 4548 h 4877"/>
              <a:gd name="T12" fmla="*/ 2439 w 4877"/>
              <a:gd name="T13" fmla="*/ 4877 h 4877"/>
              <a:gd name="T14" fmla="*/ 1219 w 4877"/>
              <a:gd name="T15" fmla="*/ 4548 h 4877"/>
              <a:gd name="T16" fmla="*/ 329 w 4877"/>
              <a:gd name="T17" fmla="*/ 3658 h 4877"/>
              <a:gd name="T18" fmla="*/ 0 w 4877"/>
              <a:gd name="T19" fmla="*/ 2439 h 4877"/>
              <a:gd name="T20" fmla="*/ 329 w 4877"/>
              <a:gd name="T21" fmla="*/ 1219 h 4877"/>
              <a:gd name="T22" fmla="*/ 1219 w 4877"/>
              <a:gd name="T23" fmla="*/ 329 h 4877"/>
              <a:gd name="T24" fmla="*/ 2439 w 4877"/>
              <a:gd name="T25" fmla="*/ 0 h 4877"/>
              <a:gd name="T26" fmla="*/ 1141 w 4877"/>
              <a:gd name="T27" fmla="*/ 2832 h 4877"/>
              <a:gd name="T28" fmla="*/ 3737 w 4877"/>
              <a:gd name="T29" fmla="*/ 2832 h 4877"/>
              <a:gd name="T30" fmla="*/ 3820 w 4877"/>
              <a:gd name="T31" fmla="*/ 2798 h 4877"/>
              <a:gd name="T32" fmla="*/ 3855 w 4877"/>
              <a:gd name="T33" fmla="*/ 2714 h 4877"/>
              <a:gd name="T34" fmla="*/ 3855 w 4877"/>
              <a:gd name="T35" fmla="*/ 2163 h 4877"/>
              <a:gd name="T36" fmla="*/ 3820 w 4877"/>
              <a:gd name="T37" fmla="*/ 2080 h 4877"/>
              <a:gd name="T38" fmla="*/ 3737 w 4877"/>
              <a:gd name="T39" fmla="*/ 2045 h 4877"/>
              <a:gd name="T40" fmla="*/ 1141 w 4877"/>
              <a:gd name="T41" fmla="*/ 2045 h 4877"/>
              <a:gd name="T42" fmla="*/ 1057 w 4877"/>
              <a:gd name="T43" fmla="*/ 2080 h 4877"/>
              <a:gd name="T44" fmla="*/ 1023 w 4877"/>
              <a:gd name="T45" fmla="*/ 2163 h 4877"/>
              <a:gd name="T46" fmla="*/ 1023 w 4877"/>
              <a:gd name="T47" fmla="*/ 2714 h 4877"/>
              <a:gd name="T48" fmla="*/ 1057 w 4877"/>
              <a:gd name="T49" fmla="*/ 2798 h 4877"/>
              <a:gd name="T50" fmla="*/ 1141 w 4877"/>
              <a:gd name="T51" fmla="*/ 2832 h 4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4877" h="4877">
                <a:moveTo>
                  <a:pt x="2439" y="0"/>
                </a:moveTo>
                <a:cubicBezTo>
                  <a:pt x="2878" y="0"/>
                  <a:pt x="3284" y="110"/>
                  <a:pt x="3658" y="329"/>
                </a:cubicBezTo>
                <a:cubicBezTo>
                  <a:pt x="4032" y="549"/>
                  <a:pt x="4328" y="846"/>
                  <a:pt x="4548" y="1219"/>
                </a:cubicBezTo>
                <a:cubicBezTo>
                  <a:pt x="4768" y="1593"/>
                  <a:pt x="4877" y="1999"/>
                  <a:pt x="4877" y="2439"/>
                </a:cubicBezTo>
                <a:cubicBezTo>
                  <a:pt x="4877" y="2878"/>
                  <a:pt x="4768" y="3284"/>
                  <a:pt x="4548" y="3658"/>
                </a:cubicBezTo>
                <a:cubicBezTo>
                  <a:pt x="4328" y="4032"/>
                  <a:pt x="4032" y="4328"/>
                  <a:pt x="3658" y="4548"/>
                </a:cubicBezTo>
                <a:cubicBezTo>
                  <a:pt x="3284" y="4768"/>
                  <a:pt x="2878" y="4877"/>
                  <a:pt x="2439" y="4877"/>
                </a:cubicBezTo>
                <a:cubicBezTo>
                  <a:pt x="1999" y="4877"/>
                  <a:pt x="1593" y="4768"/>
                  <a:pt x="1219" y="4548"/>
                </a:cubicBezTo>
                <a:cubicBezTo>
                  <a:pt x="846" y="4328"/>
                  <a:pt x="549" y="4032"/>
                  <a:pt x="329" y="3658"/>
                </a:cubicBezTo>
                <a:cubicBezTo>
                  <a:pt x="110" y="3284"/>
                  <a:pt x="0" y="2878"/>
                  <a:pt x="0" y="2439"/>
                </a:cubicBezTo>
                <a:cubicBezTo>
                  <a:pt x="0" y="1999"/>
                  <a:pt x="110" y="1593"/>
                  <a:pt x="329" y="1219"/>
                </a:cubicBezTo>
                <a:cubicBezTo>
                  <a:pt x="549" y="846"/>
                  <a:pt x="846" y="549"/>
                  <a:pt x="1219" y="329"/>
                </a:cubicBezTo>
                <a:cubicBezTo>
                  <a:pt x="1593" y="110"/>
                  <a:pt x="1999" y="0"/>
                  <a:pt x="2439" y="0"/>
                </a:cubicBezTo>
                <a:close/>
                <a:moveTo>
                  <a:pt x="1141" y="2832"/>
                </a:moveTo>
                <a:cubicBezTo>
                  <a:pt x="3737" y="2832"/>
                  <a:pt x="3737" y="2832"/>
                  <a:pt x="3737" y="2832"/>
                </a:cubicBezTo>
                <a:cubicBezTo>
                  <a:pt x="3769" y="2832"/>
                  <a:pt x="3797" y="2821"/>
                  <a:pt x="3820" y="2798"/>
                </a:cubicBezTo>
                <a:cubicBezTo>
                  <a:pt x="3843" y="2775"/>
                  <a:pt x="3855" y="2747"/>
                  <a:pt x="3855" y="2714"/>
                </a:cubicBezTo>
                <a:cubicBezTo>
                  <a:pt x="3855" y="2163"/>
                  <a:pt x="3855" y="2163"/>
                  <a:pt x="3855" y="2163"/>
                </a:cubicBezTo>
                <a:cubicBezTo>
                  <a:pt x="3855" y="2131"/>
                  <a:pt x="3843" y="2103"/>
                  <a:pt x="3820" y="2080"/>
                </a:cubicBezTo>
                <a:cubicBezTo>
                  <a:pt x="3797" y="2057"/>
                  <a:pt x="3769" y="2045"/>
                  <a:pt x="3737" y="2045"/>
                </a:cubicBezTo>
                <a:cubicBezTo>
                  <a:pt x="1141" y="2045"/>
                  <a:pt x="1141" y="2045"/>
                  <a:pt x="1141" y="2045"/>
                </a:cubicBezTo>
                <a:cubicBezTo>
                  <a:pt x="1108" y="2045"/>
                  <a:pt x="1080" y="2057"/>
                  <a:pt x="1057" y="2080"/>
                </a:cubicBezTo>
                <a:cubicBezTo>
                  <a:pt x="1034" y="2103"/>
                  <a:pt x="1023" y="2131"/>
                  <a:pt x="1023" y="2163"/>
                </a:cubicBezTo>
                <a:cubicBezTo>
                  <a:pt x="1023" y="2714"/>
                  <a:pt x="1023" y="2714"/>
                  <a:pt x="1023" y="2714"/>
                </a:cubicBezTo>
                <a:cubicBezTo>
                  <a:pt x="1023" y="2747"/>
                  <a:pt x="1034" y="2775"/>
                  <a:pt x="1057" y="2798"/>
                </a:cubicBezTo>
                <a:cubicBezTo>
                  <a:pt x="1080" y="2821"/>
                  <a:pt x="1108" y="2832"/>
                  <a:pt x="1141" y="283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agezeichen, question">
            <a:extLst>
              <a:ext uri="{FF2B5EF4-FFF2-40B4-BE49-F238E27FC236}">
                <a16:creationId xmlns:a16="http://schemas.microsoft.com/office/drawing/2014/main" id="{69480121-521B-C7D9-F6E6-20603BF895BD}"/>
              </a:ext>
            </a:extLst>
          </p:cNvPr>
          <p:cNvSpPr>
            <a:spLocks/>
          </p:cNvSpPr>
          <p:nvPr/>
        </p:nvSpPr>
        <p:spPr bwMode="auto">
          <a:xfrm>
            <a:off x="3069788" y="4229544"/>
            <a:ext cx="554672" cy="554672"/>
          </a:xfrm>
          <a:custGeom>
            <a:avLst/>
            <a:gdLst>
              <a:gd name="T0" fmla="*/ 4548 w 4878"/>
              <a:gd name="T1" fmla="*/ 3658 h 4877"/>
              <a:gd name="T2" fmla="*/ 3658 w 4878"/>
              <a:gd name="T3" fmla="*/ 4548 h 4877"/>
              <a:gd name="T4" fmla="*/ 2439 w 4878"/>
              <a:gd name="T5" fmla="*/ 4877 h 4877"/>
              <a:gd name="T6" fmla="*/ 1220 w 4878"/>
              <a:gd name="T7" fmla="*/ 4548 h 4877"/>
              <a:gd name="T8" fmla="*/ 330 w 4878"/>
              <a:gd name="T9" fmla="*/ 3658 h 4877"/>
              <a:gd name="T10" fmla="*/ 0 w 4878"/>
              <a:gd name="T11" fmla="*/ 2439 h 4877"/>
              <a:gd name="T12" fmla="*/ 330 w 4878"/>
              <a:gd name="T13" fmla="*/ 1219 h 4877"/>
              <a:gd name="T14" fmla="*/ 1220 w 4878"/>
              <a:gd name="T15" fmla="*/ 329 h 4877"/>
              <a:gd name="T16" fmla="*/ 2439 w 4878"/>
              <a:gd name="T17" fmla="*/ 0 h 4877"/>
              <a:gd name="T18" fmla="*/ 3658 w 4878"/>
              <a:gd name="T19" fmla="*/ 329 h 4877"/>
              <a:gd name="T20" fmla="*/ 4548 w 4878"/>
              <a:gd name="T21" fmla="*/ 1219 h 4877"/>
              <a:gd name="T22" fmla="*/ 4878 w 4878"/>
              <a:gd name="T23" fmla="*/ 2439 h 4877"/>
              <a:gd name="T24" fmla="*/ 4548 w 4878"/>
              <a:gd name="T25" fmla="*/ 3658 h 4877"/>
              <a:gd name="T26" fmla="*/ 1829 w 4878"/>
              <a:gd name="T27" fmla="*/ 973 h 4877"/>
              <a:gd name="T28" fmla="*/ 1357 w 4878"/>
              <a:gd name="T29" fmla="*/ 1436 h 4877"/>
              <a:gd name="T30" fmla="*/ 1338 w 4878"/>
              <a:gd name="T31" fmla="*/ 1519 h 4877"/>
              <a:gd name="T32" fmla="*/ 1387 w 4878"/>
              <a:gd name="T33" fmla="*/ 1593 h 4877"/>
              <a:gd name="T34" fmla="*/ 1731 w 4878"/>
              <a:gd name="T35" fmla="*/ 1849 h 4877"/>
              <a:gd name="T36" fmla="*/ 1810 w 4878"/>
              <a:gd name="T37" fmla="*/ 1873 h 4877"/>
              <a:gd name="T38" fmla="*/ 1888 w 4878"/>
              <a:gd name="T39" fmla="*/ 1829 h 4877"/>
              <a:gd name="T40" fmla="*/ 2134 w 4878"/>
              <a:gd name="T41" fmla="*/ 1573 h 4877"/>
              <a:gd name="T42" fmla="*/ 2449 w 4878"/>
              <a:gd name="T43" fmla="*/ 1475 h 4877"/>
              <a:gd name="T44" fmla="*/ 2759 w 4878"/>
              <a:gd name="T45" fmla="*/ 1568 h 4877"/>
              <a:gd name="T46" fmla="*/ 2901 w 4878"/>
              <a:gd name="T47" fmla="*/ 1799 h 4877"/>
              <a:gd name="T48" fmla="*/ 2813 w 4878"/>
              <a:gd name="T49" fmla="*/ 1986 h 4877"/>
              <a:gd name="T50" fmla="*/ 2587 w 4878"/>
              <a:gd name="T51" fmla="*/ 2134 h 4877"/>
              <a:gd name="T52" fmla="*/ 2567 w 4878"/>
              <a:gd name="T53" fmla="*/ 2144 h 4877"/>
              <a:gd name="T54" fmla="*/ 2223 w 4878"/>
              <a:gd name="T55" fmla="*/ 2389 h 4877"/>
              <a:gd name="T56" fmla="*/ 2046 w 4878"/>
              <a:gd name="T57" fmla="*/ 2832 h 4877"/>
              <a:gd name="T58" fmla="*/ 2046 w 4878"/>
              <a:gd name="T59" fmla="*/ 2871 h 4877"/>
              <a:gd name="T60" fmla="*/ 2080 w 4878"/>
              <a:gd name="T61" fmla="*/ 2955 h 4877"/>
              <a:gd name="T62" fmla="*/ 2164 w 4878"/>
              <a:gd name="T63" fmla="*/ 2989 h 4877"/>
              <a:gd name="T64" fmla="*/ 2714 w 4878"/>
              <a:gd name="T65" fmla="*/ 2989 h 4877"/>
              <a:gd name="T66" fmla="*/ 2798 w 4878"/>
              <a:gd name="T67" fmla="*/ 2955 h 4877"/>
              <a:gd name="T68" fmla="*/ 2832 w 4878"/>
              <a:gd name="T69" fmla="*/ 2871 h 4877"/>
              <a:gd name="T70" fmla="*/ 2832 w 4878"/>
              <a:gd name="T71" fmla="*/ 2862 h 4877"/>
              <a:gd name="T72" fmla="*/ 2911 w 4878"/>
              <a:gd name="T73" fmla="*/ 2724 h 4877"/>
              <a:gd name="T74" fmla="*/ 3098 w 4878"/>
              <a:gd name="T75" fmla="*/ 2606 h 4877"/>
              <a:gd name="T76" fmla="*/ 3462 w 4878"/>
              <a:gd name="T77" fmla="*/ 2330 h 4877"/>
              <a:gd name="T78" fmla="*/ 3649 w 4878"/>
              <a:gd name="T79" fmla="*/ 1809 h 4877"/>
              <a:gd name="T80" fmla="*/ 3481 w 4878"/>
              <a:gd name="T81" fmla="*/ 1303 h 4877"/>
              <a:gd name="T82" fmla="*/ 3049 w 4878"/>
              <a:gd name="T83" fmla="*/ 939 h 4877"/>
              <a:gd name="T84" fmla="*/ 2508 w 4878"/>
              <a:gd name="T85" fmla="*/ 806 h 4877"/>
              <a:gd name="T86" fmla="*/ 1829 w 4878"/>
              <a:gd name="T87" fmla="*/ 973 h 4877"/>
              <a:gd name="T88" fmla="*/ 2119 w 4878"/>
              <a:gd name="T89" fmla="*/ 3378 h 4877"/>
              <a:gd name="T90" fmla="*/ 1987 w 4878"/>
              <a:gd name="T91" fmla="*/ 3697 h 4877"/>
              <a:gd name="T92" fmla="*/ 2119 w 4878"/>
              <a:gd name="T93" fmla="*/ 4017 h 4877"/>
              <a:gd name="T94" fmla="*/ 2439 w 4878"/>
              <a:gd name="T95" fmla="*/ 4150 h 4877"/>
              <a:gd name="T96" fmla="*/ 2759 w 4878"/>
              <a:gd name="T97" fmla="*/ 4017 h 4877"/>
              <a:gd name="T98" fmla="*/ 2891 w 4878"/>
              <a:gd name="T99" fmla="*/ 3697 h 4877"/>
              <a:gd name="T100" fmla="*/ 2759 w 4878"/>
              <a:gd name="T101" fmla="*/ 3378 h 4877"/>
              <a:gd name="T102" fmla="*/ 2439 w 4878"/>
              <a:gd name="T103" fmla="*/ 3245 h 4877"/>
              <a:gd name="T104" fmla="*/ 2119 w 4878"/>
              <a:gd name="T105" fmla="*/ 3378 h 4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878" h="4877">
                <a:moveTo>
                  <a:pt x="4548" y="3658"/>
                </a:moveTo>
                <a:cubicBezTo>
                  <a:pt x="4329" y="4032"/>
                  <a:pt x="4032" y="4328"/>
                  <a:pt x="3658" y="4548"/>
                </a:cubicBezTo>
                <a:cubicBezTo>
                  <a:pt x="3285" y="4768"/>
                  <a:pt x="2878" y="4877"/>
                  <a:pt x="2439" y="4877"/>
                </a:cubicBezTo>
                <a:cubicBezTo>
                  <a:pt x="2000" y="4877"/>
                  <a:pt x="1593" y="4768"/>
                  <a:pt x="1220" y="4548"/>
                </a:cubicBezTo>
                <a:cubicBezTo>
                  <a:pt x="846" y="4328"/>
                  <a:pt x="549" y="4032"/>
                  <a:pt x="330" y="3658"/>
                </a:cubicBezTo>
                <a:cubicBezTo>
                  <a:pt x="110" y="3284"/>
                  <a:pt x="0" y="2878"/>
                  <a:pt x="0" y="2439"/>
                </a:cubicBezTo>
                <a:cubicBezTo>
                  <a:pt x="0" y="1999"/>
                  <a:pt x="110" y="1593"/>
                  <a:pt x="330" y="1219"/>
                </a:cubicBezTo>
                <a:cubicBezTo>
                  <a:pt x="549" y="846"/>
                  <a:pt x="846" y="549"/>
                  <a:pt x="1220" y="329"/>
                </a:cubicBezTo>
                <a:cubicBezTo>
                  <a:pt x="1593" y="110"/>
                  <a:pt x="2000" y="0"/>
                  <a:pt x="2439" y="0"/>
                </a:cubicBezTo>
                <a:cubicBezTo>
                  <a:pt x="2878" y="0"/>
                  <a:pt x="3285" y="110"/>
                  <a:pt x="3658" y="329"/>
                </a:cubicBezTo>
                <a:cubicBezTo>
                  <a:pt x="4032" y="549"/>
                  <a:pt x="4329" y="846"/>
                  <a:pt x="4548" y="1219"/>
                </a:cubicBezTo>
                <a:cubicBezTo>
                  <a:pt x="4768" y="1593"/>
                  <a:pt x="4878" y="1999"/>
                  <a:pt x="4878" y="2439"/>
                </a:cubicBezTo>
                <a:cubicBezTo>
                  <a:pt x="4878" y="2878"/>
                  <a:pt x="4768" y="3284"/>
                  <a:pt x="4548" y="3658"/>
                </a:cubicBezTo>
                <a:close/>
                <a:moveTo>
                  <a:pt x="1829" y="973"/>
                </a:moveTo>
                <a:cubicBezTo>
                  <a:pt x="1652" y="1072"/>
                  <a:pt x="1495" y="1226"/>
                  <a:pt x="1357" y="1436"/>
                </a:cubicBezTo>
                <a:cubicBezTo>
                  <a:pt x="1338" y="1462"/>
                  <a:pt x="1331" y="1490"/>
                  <a:pt x="1338" y="1519"/>
                </a:cubicBezTo>
                <a:cubicBezTo>
                  <a:pt x="1344" y="1549"/>
                  <a:pt x="1361" y="1573"/>
                  <a:pt x="1387" y="1593"/>
                </a:cubicBezTo>
                <a:cubicBezTo>
                  <a:pt x="1731" y="1849"/>
                  <a:pt x="1731" y="1849"/>
                  <a:pt x="1731" y="1849"/>
                </a:cubicBezTo>
                <a:cubicBezTo>
                  <a:pt x="1751" y="1868"/>
                  <a:pt x="1777" y="1876"/>
                  <a:pt x="1810" y="1873"/>
                </a:cubicBezTo>
                <a:cubicBezTo>
                  <a:pt x="1843" y="1870"/>
                  <a:pt x="1869" y="1855"/>
                  <a:pt x="1888" y="1829"/>
                </a:cubicBezTo>
                <a:cubicBezTo>
                  <a:pt x="1993" y="1704"/>
                  <a:pt x="2075" y="1619"/>
                  <a:pt x="2134" y="1573"/>
                </a:cubicBezTo>
                <a:cubicBezTo>
                  <a:pt x="2226" y="1508"/>
                  <a:pt x="2331" y="1475"/>
                  <a:pt x="2449" y="1475"/>
                </a:cubicBezTo>
                <a:cubicBezTo>
                  <a:pt x="2560" y="1475"/>
                  <a:pt x="2664" y="1506"/>
                  <a:pt x="2759" y="1568"/>
                </a:cubicBezTo>
                <a:cubicBezTo>
                  <a:pt x="2854" y="1631"/>
                  <a:pt x="2901" y="1708"/>
                  <a:pt x="2901" y="1799"/>
                </a:cubicBezTo>
                <a:cubicBezTo>
                  <a:pt x="2901" y="1872"/>
                  <a:pt x="2872" y="1934"/>
                  <a:pt x="2813" y="1986"/>
                </a:cubicBezTo>
                <a:cubicBezTo>
                  <a:pt x="2773" y="2019"/>
                  <a:pt x="2698" y="2068"/>
                  <a:pt x="2587" y="2134"/>
                </a:cubicBezTo>
                <a:cubicBezTo>
                  <a:pt x="2567" y="2144"/>
                  <a:pt x="2567" y="2144"/>
                  <a:pt x="2567" y="2144"/>
                </a:cubicBezTo>
                <a:cubicBezTo>
                  <a:pt x="2403" y="2235"/>
                  <a:pt x="2288" y="2317"/>
                  <a:pt x="2223" y="2389"/>
                </a:cubicBezTo>
                <a:cubicBezTo>
                  <a:pt x="2105" y="2514"/>
                  <a:pt x="2046" y="2662"/>
                  <a:pt x="2046" y="2832"/>
                </a:cubicBezTo>
                <a:cubicBezTo>
                  <a:pt x="2046" y="2871"/>
                  <a:pt x="2046" y="2871"/>
                  <a:pt x="2046" y="2871"/>
                </a:cubicBezTo>
                <a:cubicBezTo>
                  <a:pt x="2046" y="2904"/>
                  <a:pt x="2057" y="2932"/>
                  <a:pt x="2080" y="2955"/>
                </a:cubicBezTo>
                <a:cubicBezTo>
                  <a:pt x="2103" y="2978"/>
                  <a:pt x="2131" y="2989"/>
                  <a:pt x="2164" y="2989"/>
                </a:cubicBezTo>
                <a:cubicBezTo>
                  <a:pt x="2714" y="2989"/>
                  <a:pt x="2714" y="2989"/>
                  <a:pt x="2714" y="2989"/>
                </a:cubicBezTo>
                <a:cubicBezTo>
                  <a:pt x="2747" y="2989"/>
                  <a:pt x="2775" y="2978"/>
                  <a:pt x="2798" y="2955"/>
                </a:cubicBezTo>
                <a:cubicBezTo>
                  <a:pt x="2821" y="2932"/>
                  <a:pt x="2832" y="2904"/>
                  <a:pt x="2832" y="2871"/>
                </a:cubicBezTo>
                <a:cubicBezTo>
                  <a:pt x="2832" y="2862"/>
                  <a:pt x="2832" y="2862"/>
                  <a:pt x="2832" y="2862"/>
                </a:cubicBezTo>
                <a:cubicBezTo>
                  <a:pt x="2832" y="2809"/>
                  <a:pt x="2859" y="2763"/>
                  <a:pt x="2911" y="2724"/>
                </a:cubicBezTo>
                <a:cubicBezTo>
                  <a:pt x="2944" y="2698"/>
                  <a:pt x="3006" y="2658"/>
                  <a:pt x="3098" y="2606"/>
                </a:cubicBezTo>
                <a:cubicBezTo>
                  <a:pt x="3268" y="2501"/>
                  <a:pt x="3390" y="2409"/>
                  <a:pt x="3462" y="2330"/>
                </a:cubicBezTo>
                <a:cubicBezTo>
                  <a:pt x="3586" y="2193"/>
                  <a:pt x="3649" y="2019"/>
                  <a:pt x="3649" y="1809"/>
                </a:cubicBezTo>
                <a:cubicBezTo>
                  <a:pt x="3649" y="1626"/>
                  <a:pt x="3593" y="1457"/>
                  <a:pt x="3481" y="1303"/>
                </a:cubicBezTo>
                <a:cubicBezTo>
                  <a:pt x="3370" y="1149"/>
                  <a:pt x="3226" y="1028"/>
                  <a:pt x="3049" y="939"/>
                </a:cubicBezTo>
                <a:cubicBezTo>
                  <a:pt x="2872" y="850"/>
                  <a:pt x="2691" y="806"/>
                  <a:pt x="2508" y="806"/>
                </a:cubicBezTo>
                <a:cubicBezTo>
                  <a:pt x="2246" y="806"/>
                  <a:pt x="2020" y="862"/>
                  <a:pt x="1829" y="973"/>
                </a:cubicBezTo>
                <a:close/>
                <a:moveTo>
                  <a:pt x="2119" y="3378"/>
                </a:moveTo>
                <a:cubicBezTo>
                  <a:pt x="2031" y="3466"/>
                  <a:pt x="1987" y="3573"/>
                  <a:pt x="1987" y="3697"/>
                </a:cubicBezTo>
                <a:cubicBezTo>
                  <a:pt x="1987" y="3822"/>
                  <a:pt x="2031" y="3928"/>
                  <a:pt x="2119" y="4017"/>
                </a:cubicBezTo>
                <a:cubicBezTo>
                  <a:pt x="2208" y="4105"/>
                  <a:pt x="2315" y="4150"/>
                  <a:pt x="2439" y="4150"/>
                </a:cubicBezTo>
                <a:cubicBezTo>
                  <a:pt x="2564" y="4150"/>
                  <a:pt x="2670" y="4105"/>
                  <a:pt x="2759" y="4017"/>
                </a:cubicBezTo>
                <a:cubicBezTo>
                  <a:pt x="2847" y="3928"/>
                  <a:pt x="2891" y="3822"/>
                  <a:pt x="2891" y="3697"/>
                </a:cubicBezTo>
                <a:cubicBezTo>
                  <a:pt x="2891" y="3573"/>
                  <a:pt x="2847" y="3466"/>
                  <a:pt x="2759" y="3378"/>
                </a:cubicBezTo>
                <a:cubicBezTo>
                  <a:pt x="2670" y="3289"/>
                  <a:pt x="2564" y="3245"/>
                  <a:pt x="2439" y="3245"/>
                </a:cubicBezTo>
                <a:cubicBezTo>
                  <a:pt x="2315" y="3245"/>
                  <a:pt x="2208" y="3289"/>
                  <a:pt x="2119" y="33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Plus">
            <a:extLst>
              <a:ext uri="{FF2B5EF4-FFF2-40B4-BE49-F238E27FC236}">
                <a16:creationId xmlns:a16="http://schemas.microsoft.com/office/drawing/2014/main" id="{458A0232-03E1-DFBB-9ABB-5DF258BE503D}"/>
              </a:ext>
            </a:extLst>
          </p:cNvPr>
          <p:cNvSpPr>
            <a:spLocks/>
          </p:cNvSpPr>
          <p:nvPr/>
        </p:nvSpPr>
        <p:spPr bwMode="auto">
          <a:xfrm>
            <a:off x="1744444" y="4229544"/>
            <a:ext cx="554672" cy="554672"/>
          </a:xfrm>
          <a:custGeom>
            <a:avLst/>
            <a:gdLst>
              <a:gd name="T0" fmla="*/ 2439 w 4878"/>
              <a:gd name="T1" fmla="*/ 0 h 4877"/>
              <a:gd name="T2" fmla="*/ 3658 w 4878"/>
              <a:gd name="T3" fmla="*/ 329 h 4877"/>
              <a:gd name="T4" fmla="*/ 4548 w 4878"/>
              <a:gd name="T5" fmla="*/ 1219 h 4877"/>
              <a:gd name="T6" fmla="*/ 4878 w 4878"/>
              <a:gd name="T7" fmla="*/ 2439 h 4877"/>
              <a:gd name="T8" fmla="*/ 4548 w 4878"/>
              <a:gd name="T9" fmla="*/ 3658 h 4877"/>
              <a:gd name="T10" fmla="*/ 3658 w 4878"/>
              <a:gd name="T11" fmla="*/ 4548 h 4877"/>
              <a:gd name="T12" fmla="*/ 2439 w 4878"/>
              <a:gd name="T13" fmla="*/ 4877 h 4877"/>
              <a:gd name="T14" fmla="*/ 1219 w 4878"/>
              <a:gd name="T15" fmla="*/ 4548 h 4877"/>
              <a:gd name="T16" fmla="*/ 329 w 4878"/>
              <a:gd name="T17" fmla="*/ 3658 h 4877"/>
              <a:gd name="T18" fmla="*/ 0 w 4878"/>
              <a:gd name="T19" fmla="*/ 2439 h 4877"/>
              <a:gd name="T20" fmla="*/ 329 w 4878"/>
              <a:gd name="T21" fmla="*/ 1219 h 4877"/>
              <a:gd name="T22" fmla="*/ 1219 w 4878"/>
              <a:gd name="T23" fmla="*/ 329 h 4877"/>
              <a:gd name="T24" fmla="*/ 2439 w 4878"/>
              <a:gd name="T25" fmla="*/ 0 h 4877"/>
              <a:gd name="T26" fmla="*/ 3855 w 4878"/>
              <a:gd name="T27" fmla="*/ 2714 h 4877"/>
              <a:gd name="T28" fmla="*/ 3855 w 4878"/>
              <a:gd name="T29" fmla="*/ 2163 h 4877"/>
              <a:gd name="T30" fmla="*/ 3820 w 4878"/>
              <a:gd name="T31" fmla="*/ 2080 h 4877"/>
              <a:gd name="T32" fmla="*/ 3737 w 4878"/>
              <a:gd name="T33" fmla="*/ 2045 h 4877"/>
              <a:gd name="T34" fmla="*/ 2832 w 4878"/>
              <a:gd name="T35" fmla="*/ 2045 h 4877"/>
              <a:gd name="T36" fmla="*/ 2832 w 4878"/>
              <a:gd name="T37" fmla="*/ 1141 h 4877"/>
              <a:gd name="T38" fmla="*/ 2798 w 4878"/>
              <a:gd name="T39" fmla="*/ 1057 h 4877"/>
              <a:gd name="T40" fmla="*/ 2714 w 4878"/>
              <a:gd name="T41" fmla="*/ 1023 h 4877"/>
              <a:gd name="T42" fmla="*/ 2163 w 4878"/>
              <a:gd name="T43" fmla="*/ 1023 h 4877"/>
              <a:gd name="T44" fmla="*/ 2080 w 4878"/>
              <a:gd name="T45" fmla="*/ 1057 h 4877"/>
              <a:gd name="T46" fmla="*/ 2045 w 4878"/>
              <a:gd name="T47" fmla="*/ 1141 h 4877"/>
              <a:gd name="T48" fmla="*/ 2045 w 4878"/>
              <a:gd name="T49" fmla="*/ 2045 h 4877"/>
              <a:gd name="T50" fmla="*/ 1141 w 4878"/>
              <a:gd name="T51" fmla="*/ 2045 h 4877"/>
              <a:gd name="T52" fmla="*/ 1057 w 4878"/>
              <a:gd name="T53" fmla="*/ 2080 h 4877"/>
              <a:gd name="T54" fmla="*/ 1023 w 4878"/>
              <a:gd name="T55" fmla="*/ 2163 h 4877"/>
              <a:gd name="T56" fmla="*/ 1023 w 4878"/>
              <a:gd name="T57" fmla="*/ 2714 h 4877"/>
              <a:gd name="T58" fmla="*/ 1057 w 4878"/>
              <a:gd name="T59" fmla="*/ 2798 h 4877"/>
              <a:gd name="T60" fmla="*/ 1141 w 4878"/>
              <a:gd name="T61" fmla="*/ 2832 h 4877"/>
              <a:gd name="T62" fmla="*/ 2045 w 4878"/>
              <a:gd name="T63" fmla="*/ 2832 h 4877"/>
              <a:gd name="T64" fmla="*/ 2045 w 4878"/>
              <a:gd name="T65" fmla="*/ 3737 h 4877"/>
              <a:gd name="T66" fmla="*/ 2080 w 4878"/>
              <a:gd name="T67" fmla="*/ 3820 h 4877"/>
              <a:gd name="T68" fmla="*/ 2163 w 4878"/>
              <a:gd name="T69" fmla="*/ 3855 h 4877"/>
              <a:gd name="T70" fmla="*/ 2714 w 4878"/>
              <a:gd name="T71" fmla="*/ 3855 h 4877"/>
              <a:gd name="T72" fmla="*/ 2798 w 4878"/>
              <a:gd name="T73" fmla="*/ 3820 h 4877"/>
              <a:gd name="T74" fmla="*/ 2832 w 4878"/>
              <a:gd name="T75" fmla="*/ 3737 h 4877"/>
              <a:gd name="T76" fmla="*/ 2832 w 4878"/>
              <a:gd name="T77" fmla="*/ 2832 h 4877"/>
              <a:gd name="T78" fmla="*/ 3737 w 4878"/>
              <a:gd name="T79" fmla="*/ 2832 h 4877"/>
              <a:gd name="T80" fmla="*/ 3820 w 4878"/>
              <a:gd name="T81" fmla="*/ 2798 h 4877"/>
              <a:gd name="T82" fmla="*/ 3855 w 4878"/>
              <a:gd name="T83" fmla="*/ 2714 h 4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4878" h="4877">
                <a:moveTo>
                  <a:pt x="2439" y="0"/>
                </a:moveTo>
                <a:cubicBezTo>
                  <a:pt x="2878" y="0"/>
                  <a:pt x="3284" y="110"/>
                  <a:pt x="3658" y="329"/>
                </a:cubicBezTo>
                <a:cubicBezTo>
                  <a:pt x="4032" y="549"/>
                  <a:pt x="4329" y="846"/>
                  <a:pt x="4548" y="1219"/>
                </a:cubicBezTo>
                <a:cubicBezTo>
                  <a:pt x="4768" y="1593"/>
                  <a:pt x="4878" y="1999"/>
                  <a:pt x="4878" y="2439"/>
                </a:cubicBezTo>
                <a:cubicBezTo>
                  <a:pt x="4878" y="2878"/>
                  <a:pt x="4768" y="3284"/>
                  <a:pt x="4548" y="3658"/>
                </a:cubicBezTo>
                <a:cubicBezTo>
                  <a:pt x="4329" y="4032"/>
                  <a:pt x="4032" y="4328"/>
                  <a:pt x="3658" y="4548"/>
                </a:cubicBezTo>
                <a:cubicBezTo>
                  <a:pt x="3284" y="4768"/>
                  <a:pt x="2878" y="4877"/>
                  <a:pt x="2439" y="4877"/>
                </a:cubicBezTo>
                <a:cubicBezTo>
                  <a:pt x="2000" y="4877"/>
                  <a:pt x="1593" y="4768"/>
                  <a:pt x="1219" y="4548"/>
                </a:cubicBezTo>
                <a:cubicBezTo>
                  <a:pt x="846" y="4328"/>
                  <a:pt x="549" y="4032"/>
                  <a:pt x="329" y="3658"/>
                </a:cubicBezTo>
                <a:cubicBezTo>
                  <a:pt x="110" y="3284"/>
                  <a:pt x="0" y="2878"/>
                  <a:pt x="0" y="2439"/>
                </a:cubicBezTo>
                <a:cubicBezTo>
                  <a:pt x="0" y="1999"/>
                  <a:pt x="110" y="1593"/>
                  <a:pt x="329" y="1219"/>
                </a:cubicBezTo>
                <a:cubicBezTo>
                  <a:pt x="549" y="846"/>
                  <a:pt x="846" y="549"/>
                  <a:pt x="1219" y="329"/>
                </a:cubicBezTo>
                <a:cubicBezTo>
                  <a:pt x="1593" y="110"/>
                  <a:pt x="2000" y="0"/>
                  <a:pt x="2439" y="0"/>
                </a:cubicBezTo>
                <a:close/>
                <a:moveTo>
                  <a:pt x="3855" y="2714"/>
                </a:moveTo>
                <a:cubicBezTo>
                  <a:pt x="3855" y="2163"/>
                  <a:pt x="3855" y="2163"/>
                  <a:pt x="3855" y="2163"/>
                </a:cubicBezTo>
                <a:cubicBezTo>
                  <a:pt x="3855" y="2131"/>
                  <a:pt x="3843" y="2103"/>
                  <a:pt x="3820" y="2080"/>
                </a:cubicBezTo>
                <a:cubicBezTo>
                  <a:pt x="3797" y="2057"/>
                  <a:pt x="3770" y="2045"/>
                  <a:pt x="3737" y="2045"/>
                </a:cubicBezTo>
                <a:cubicBezTo>
                  <a:pt x="2832" y="2045"/>
                  <a:pt x="2832" y="2045"/>
                  <a:pt x="2832" y="2045"/>
                </a:cubicBezTo>
                <a:cubicBezTo>
                  <a:pt x="2832" y="1141"/>
                  <a:pt x="2832" y="1141"/>
                  <a:pt x="2832" y="1141"/>
                </a:cubicBezTo>
                <a:cubicBezTo>
                  <a:pt x="2832" y="1108"/>
                  <a:pt x="2821" y="1080"/>
                  <a:pt x="2798" y="1057"/>
                </a:cubicBezTo>
                <a:cubicBezTo>
                  <a:pt x="2775" y="1034"/>
                  <a:pt x="2747" y="1023"/>
                  <a:pt x="2714" y="1023"/>
                </a:cubicBezTo>
                <a:cubicBezTo>
                  <a:pt x="2163" y="1023"/>
                  <a:pt x="2163" y="1023"/>
                  <a:pt x="2163" y="1023"/>
                </a:cubicBezTo>
                <a:cubicBezTo>
                  <a:pt x="2131" y="1023"/>
                  <a:pt x="2103" y="1034"/>
                  <a:pt x="2080" y="1057"/>
                </a:cubicBezTo>
                <a:cubicBezTo>
                  <a:pt x="2057" y="1080"/>
                  <a:pt x="2045" y="1108"/>
                  <a:pt x="2045" y="1141"/>
                </a:cubicBezTo>
                <a:cubicBezTo>
                  <a:pt x="2045" y="2045"/>
                  <a:pt x="2045" y="2045"/>
                  <a:pt x="2045" y="2045"/>
                </a:cubicBezTo>
                <a:cubicBezTo>
                  <a:pt x="1141" y="2045"/>
                  <a:pt x="1141" y="2045"/>
                  <a:pt x="1141" y="2045"/>
                </a:cubicBezTo>
                <a:cubicBezTo>
                  <a:pt x="1108" y="2045"/>
                  <a:pt x="1080" y="2057"/>
                  <a:pt x="1057" y="2080"/>
                </a:cubicBezTo>
                <a:cubicBezTo>
                  <a:pt x="1034" y="2103"/>
                  <a:pt x="1023" y="2131"/>
                  <a:pt x="1023" y="2163"/>
                </a:cubicBezTo>
                <a:cubicBezTo>
                  <a:pt x="1023" y="2714"/>
                  <a:pt x="1023" y="2714"/>
                  <a:pt x="1023" y="2714"/>
                </a:cubicBezTo>
                <a:cubicBezTo>
                  <a:pt x="1023" y="2747"/>
                  <a:pt x="1034" y="2775"/>
                  <a:pt x="1057" y="2798"/>
                </a:cubicBezTo>
                <a:cubicBezTo>
                  <a:pt x="1080" y="2821"/>
                  <a:pt x="1108" y="2832"/>
                  <a:pt x="1141" y="2832"/>
                </a:cubicBezTo>
                <a:cubicBezTo>
                  <a:pt x="2045" y="2832"/>
                  <a:pt x="2045" y="2832"/>
                  <a:pt x="2045" y="2832"/>
                </a:cubicBezTo>
                <a:cubicBezTo>
                  <a:pt x="2045" y="3737"/>
                  <a:pt x="2045" y="3737"/>
                  <a:pt x="2045" y="3737"/>
                </a:cubicBezTo>
                <a:cubicBezTo>
                  <a:pt x="2045" y="3769"/>
                  <a:pt x="2057" y="3797"/>
                  <a:pt x="2080" y="3820"/>
                </a:cubicBezTo>
                <a:cubicBezTo>
                  <a:pt x="2103" y="3843"/>
                  <a:pt x="2131" y="3855"/>
                  <a:pt x="2163" y="3855"/>
                </a:cubicBezTo>
                <a:cubicBezTo>
                  <a:pt x="2714" y="3855"/>
                  <a:pt x="2714" y="3855"/>
                  <a:pt x="2714" y="3855"/>
                </a:cubicBezTo>
                <a:cubicBezTo>
                  <a:pt x="2747" y="3855"/>
                  <a:pt x="2775" y="3843"/>
                  <a:pt x="2798" y="3820"/>
                </a:cubicBezTo>
                <a:cubicBezTo>
                  <a:pt x="2821" y="3797"/>
                  <a:pt x="2832" y="3769"/>
                  <a:pt x="2832" y="3737"/>
                </a:cubicBezTo>
                <a:cubicBezTo>
                  <a:pt x="2832" y="2832"/>
                  <a:pt x="2832" y="2832"/>
                  <a:pt x="2832" y="2832"/>
                </a:cubicBezTo>
                <a:cubicBezTo>
                  <a:pt x="3737" y="2832"/>
                  <a:pt x="3737" y="2832"/>
                  <a:pt x="3737" y="2832"/>
                </a:cubicBezTo>
                <a:cubicBezTo>
                  <a:pt x="3770" y="2832"/>
                  <a:pt x="3797" y="2821"/>
                  <a:pt x="3820" y="2798"/>
                </a:cubicBezTo>
                <a:cubicBezTo>
                  <a:pt x="3843" y="2775"/>
                  <a:pt x="3855" y="2747"/>
                  <a:pt x="3855" y="271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ausrufezeichen">
            <a:extLst>
              <a:ext uri="{FF2B5EF4-FFF2-40B4-BE49-F238E27FC236}">
                <a16:creationId xmlns:a16="http://schemas.microsoft.com/office/drawing/2014/main" id="{0CC17C15-9522-1863-47A9-14260D9F501F}"/>
              </a:ext>
            </a:extLst>
          </p:cNvPr>
          <p:cNvSpPr>
            <a:spLocks/>
          </p:cNvSpPr>
          <p:nvPr/>
        </p:nvSpPr>
        <p:spPr bwMode="auto">
          <a:xfrm>
            <a:off x="3732460" y="4229544"/>
            <a:ext cx="554672" cy="554672"/>
          </a:xfrm>
          <a:custGeom>
            <a:avLst/>
            <a:gdLst>
              <a:gd name="T0" fmla="*/ 4548 w 4878"/>
              <a:gd name="T1" fmla="*/ 3658 h 4877"/>
              <a:gd name="T2" fmla="*/ 3658 w 4878"/>
              <a:gd name="T3" fmla="*/ 4548 h 4877"/>
              <a:gd name="T4" fmla="*/ 2439 w 4878"/>
              <a:gd name="T5" fmla="*/ 4877 h 4877"/>
              <a:gd name="T6" fmla="*/ 1219 w 4878"/>
              <a:gd name="T7" fmla="*/ 4548 h 4877"/>
              <a:gd name="T8" fmla="*/ 329 w 4878"/>
              <a:gd name="T9" fmla="*/ 3658 h 4877"/>
              <a:gd name="T10" fmla="*/ 0 w 4878"/>
              <a:gd name="T11" fmla="*/ 2438 h 4877"/>
              <a:gd name="T12" fmla="*/ 329 w 4878"/>
              <a:gd name="T13" fmla="*/ 1219 h 4877"/>
              <a:gd name="T14" fmla="*/ 1219 w 4878"/>
              <a:gd name="T15" fmla="*/ 329 h 4877"/>
              <a:gd name="T16" fmla="*/ 2439 w 4878"/>
              <a:gd name="T17" fmla="*/ 0 h 4877"/>
              <a:gd name="T18" fmla="*/ 3658 w 4878"/>
              <a:gd name="T19" fmla="*/ 329 h 4877"/>
              <a:gd name="T20" fmla="*/ 4548 w 4878"/>
              <a:gd name="T21" fmla="*/ 1219 h 4877"/>
              <a:gd name="T22" fmla="*/ 4878 w 4878"/>
              <a:gd name="T23" fmla="*/ 2438 h 4877"/>
              <a:gd name="T24" fmla="*/ 4548 w 4878"/>
              <a:gd name="T25" fmla="*/ 3658 h 4877"/>
              <a:gd name="T26" fmla="*/ 2119 w 4878"/>
              <a:gd name="T27" fmla="*/ 3063 h 4877"/>
              <a:gd name="T28" fmla="*/ 1986 w 4878"/>
              <a:gd name="T29" fmla="*/ 3382 h 4877"/>
              <a:gd name="T30" fmla="*/ 2119 w 4878"/>
              <a:gd name="T31" fmla="*/ 3702 h 4877"/>
              <a:gd name="T32" fmla="*/ 2439 w 4878"/>
              <a:gd name="T33" fmla="*/ 3835 h 4877"/>
              <a:gd name="T34" fmla="*/ 2758 w 4878"/>
              <a:gd name="T35" fmla="*/ 3702 h 4877"/>
              <a:gd name="T36" fmla="*/ 2891 w 4878"/>
              <a:gd name="T37" fmla="*/ 3382 h 4877"/>
              <a:gd name="T38" fmla="*/ 2758 w 4878"/>
              <a:gd name="T39" fmla="*/ 3063 h 4877"/>
              <a:gd name="T40" fmla="*/ 2439 w 4878"/>
              <a:gd name="T41" fmla="*/ 2930 h 4877"/>
              <a:gd name="T42" fmla="*/ 2119 w 4878"/>
              <a:gd name="T43" fmla="*/ 3063 h 4877"/>
              <a:gd name="T44" fmla="*/ 2085 w 4878"/>
              <a:gd name="T45" fmla="*/ 2645 h 4877"/>
              <a:gd name="T46" fmla="*/ 2119 w 4878"/>
              <a:gd name="T47" fmla="*/ 2719 h 4877"/>
              <a:gd name="T48" fmla="*/ 2203 w 4878"/>
              <a:gd name="T49" fmla="*/ 2753 h 4877"/>
              <a:gd name="T50" fmla="*/ 2675 w 4878"/>
              <a:gd name="T51" fmla="*/ 2753 h 4877"/>
              <a:gd name="T52" fmla="*/ 2758 w 4878"/>
              <a:gd name="T53" fmla="*/ 2719 h 4877"/>
              <a:gd name="T54" fmla="*/ 2793 w 4878"/>
              <a:gd name="T55" fmla="*/ 2645 h 4877"/>
              <a:gd name="T56" fmla="*/ 2871 w 4878"/>
              <a:gd name="T57" fmla="*/ 1307 h 4877"/>
              <a:gd name="T58" fmla="*/ 2837 w 4878"/>
              <a:gd name="T59" fmla="*/ 1214 h 4877"/>
              <a:gd name="T60" fmla="*/ 2753 w 4878"/>
              <a:gd name="T61" fmla="*/ 1180 h 4877"/>
              <a:gd name="T62" fmla="*/ 2124 w 4878"/>
              <a:gd name="T63" fmla="*/ 1180 h 4877"/>
              <a:gd name="T64" fmla="*/ 2041 w 4878"/>
              <a:gd name="T65" fmla="*/ 1214 h 4877"/>
              <a:gd name="T66" fmla="*/ 2006 w 4878"/>
              <a:gd name="T67" fmla="*/ 1307 h 4877"/>
              <a:gd name="T68" fmla="*/ 2085 w 4878"/>
              <a:gd name="T69" fmla="*/ 2645 h 4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878" h="4877">
                <a:moveTo>
                  <a:pt x="4548" y="3658"/>
                </a:moveTo>
                <a:cubicBezTo>
                  <a:pt x="4329" y="4031"/>
                  <a:pt x="4032" y="4328"/>
                  <a:pt x="3658" y="4548"/>
                </a:cubicBezTo>
                <a:cubicBezTo>
                  <a:pt x="3284" y="4767"/>
                  <a:pt x="2878" y="4877"/>
                  <a:pt x="2439" y="4877"/>
                </a:cubicBezTo>
                <a:cubicBezTo>
                  <a:pt x="2000" y="4877"/>
                  <a:pt x="1593" y="4767"/>
                  <a:pt x="1219" y="4548"/>
                </a:cubicBezTo>
                <a:cubicBezTo>
                  <a:pt x="846" y="4328"/>
                  <a:pt x="549" y="4031"/>
                  <a:pt x="329" y="3658"/>
                </a:cubicBezTo>
                <a:cubicBezTo>
                  <a:pt x="110" y="3284"/>
                  <a:pt x="0" y="2878"/>
                  <a:pt x="0" y="2438"/>
                </a:cubicBezTo>
                <a:cubicBezTo>
                  <a:pt x="0" y="1999"/>
                  <a:pt x="110" y="1593"/>
                  <a:pt x="329" y="1219"/>
                </a:cubicBezTo>
                <a:cubicBezTo>
                  <a:pt x="549" y="845"/>
                  <a:pt x="846" y="549"/>
                  <a:pt x="1219" y="329"/>
                </a:cubicBezTo>
                <a:cubicBezTo>
                  <a:pt x="1593" y="109"/>
                  <a:pt x="2000" y="0"/>
                  <a:pt x="2439" y="0"/>
                </a:cubicBezTo>
                <a:cubicBezTo>
                  <a:pt x="2878" y="0"/>
                  <a:pt x="3284" y="109"/>
                  <a:pt x="3658" y="329"/>
                </a:cubicBezTo>
                <a:cubicBezTo>
                  <a:pt x="4032" y="549"/>
                  <a:pt x="4329" y="845"/>
                  <a:pt x="4548" y="1219"/>
                </a:cubicBezTo>
                <a:cubicBezTo>
                  <a:pt x="4768" y="1593"/>
                  <a:pt x="4878" y="1999"/>
                  <a:pt x="4878" y="2438"/>
                </a:cubicBezTo>
                <a:cubicBezTo>
                  <a:pt x="4878" y="2878"/>
                  <a:pt x="4768" y="3284"/>
                  <a:pt x="4548" y="3658"/>
                </a:cubicBezTo>
                <a:close/>
                <a:moveTo>
                  <a:pt x="2119" y="3063"/>
                </a:moveTo>
                <a:cubicBezTo>
                  <a:pt x="2031" y="3151"/>
                  <a:pt x="1986" y="3258"/>
                  <a:pt x="1986" y="3382"/>
                </a:cubicBezTo>
                <a:cubicBezTo>
                  <a:pt x="1986" y="3507"/>
                  <a:pt x="2031" y="3613"/>
                  <a:pt x="2119" y="3702"/>
                </a:cubicBezTo>
                <a:cubicBezTo>
                  <a:pt x="2208" y="3790"/>
                  <a:pt x="2314" y="3835"/>
                  <a:pt x="2439" y="3835"/>
                </a:cubicBezTo>
                <a:cubicBezTo>
                  <a:pt x="2563" y="3835"/>
                  <a:pt x="2670" y="3790"/>
                  <a:pt x="2758" y="3702"/>
                </a:cubicBezTo>
                <a:cubicBezTo>
                  <a:pt x="2847" y="3613"/>
                  <a:pt x="2891" y="3507"/>
                  <a:pt x="2891" y="3382"/>
                </a:cubicBezTo>
                <a:cubicBezTo>
                  <a:pt x="2891" y="3258"/>
                  <a:pt x="2847" y="3151"/>
                  <a:pt x="2758" y="3063"/>
                </a:cubicBezTo>
                <a:cubicBezTo>
                  <a:pt x="2670" y="2974"/>
                  <a:pt x="2563" y="2930"/>
                  <a:pt x="2439" y="2930"/>
                </a:cubicBezTo>
                <a:cubicBezTo>
                  <a:pt x="2314" y="2930"/>
                  <a:pt x="2208" y="2974"/>
                  <a:pt x="2119" y="3063"/>
                </a:cubicBezTo>
                <a:close/>
                <a:moveTo>
                  <a:pt x="2085" y="2645"/>
                </a:moveTo>
                <a:cubicBezTo>
                  <a:pt x="2085" y="2671"/>
                  <a:pt x="2096" y="2696"/>
                  <a:pt x="2119" y="2719"/>
                </a:cubicBezTo>
                <a:cubicBezTo>
                  <a:pt x="2142" y="2742"/>
                  <a:pt x="2170" y="2753"/>
                  <a:pt x="2203" y="2753"/>
                </a:cubicBezTo>
                <a:cubicBezTo>
                  <a:pt x="2675" y="2753"/>
                  <a:pt x="2675" y="2753"/>
                  <a:pt x="2675" y="2753"/>
                </a:cubicBezTo>
                <a:cubicBezTo>
                  <a:pt x="2708" y="2753"/>
                  <a:pt x="2735" y="2742"/>
                  <a:pt x="2758" y="2719"/>
                </a:cubicBezTo>
                <a:cubicBezTo>
                  <a:pt x="2781" y="2696"/>
                  <a:pt x="2793" y="2671"/>
                  <a:pt x="2793" y="2645"/>
                </a:cubicBezTo>
                <a:cubicBezTo>
                  <a:pt x="2871" y="1307"/>
                  <a:pt x="2871" y="1307"/>
                  <a:pt x="2871" y="1307"/>
                </a:cubicBezTo>
                <a:cubicBezTo>
                  <a:pt x="2871" y="1268"/>
                  <a:pt x="2860" y="1237"/>
                  <a:pt x="2837" y="1214"/>
                </a:cubicBezTo>
                <a:cubicBezTo>
                  <a:pt x="2814" y="1191"/>
                  <a:pt x="2786" y="1180"/>
                  <a:pt x="2753" y="1180"/>
                </a:cubicBezTo>
                <a:cubicBezTo>
                  <a:pt x="2124" y="1180"/>
                  <a:pt x="2124" y="1180"/>
                  <a:pt x="2124" y="1180"/>
                </a:cubicBezTo>
                <a:cubicBezTo>
                  <a:pt x="2091" y="1180"/>
                  <a:pt x="2063" y="1191"/>
                  <a:pt x="2041" y="1214"/>
                </a:cubicBezTo>
                <a:cubicBezTo>
                  <a:pt x="2018" y="1237"/>
                  <a:pt x="2006" y="1268"/>
                  <a:pt x="2006" y="1307"/>
                </a:cubicBezTo>
                <a:lnTo>
                  <a:pt x="2085" y="264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CC3A970E-30CD-9F65-2A08-A8634AD6D6A8}"/>
              </a:ext>
            </a:extLst>
          </p:cNvPr>
          <p:cNvSpPr txBox="1">
            <a:spLocks/>
          </p:cNvSpPr>
          <p:nvPr/>
        </p:nvSpPr>
        <p:spPr bwMode="gray">
          <a:xfrm>
            <a:off x="420789" y="1843429"/>
            <a:ext cx="6517031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Numbers</a:t>
            </a:r>
          </a:p>
        </p:txBody>
      </p:sp>
      <p:sp>
        <p:nvSpPr>
          <p:cNvPr id="26" name="Ellipse 32">
            <a:extLst>
              <a:ext uri="{FF2B5EF4-FFF2-40B4-BE49-F238E27FC236}">
                <a16:creationId xmlns:a16="http://schemas.microsoft.com/office/drawing/2014/main" id="{44DB7EA6-8752-D8F6-21F5-AC16A2DC4710}"/>
              </a:ext>
            </a:extLst>
          </p:cNvPr>
          <p:cNvSpPr>
            <a:spLocks/>
          </p:cNvSpPr>
          <p:nvPr/>
        </p:nvSpPr>
        <p:spPr>
          <a:xfrm>
            <a:off x="419100" y="2930208"/>
            <a:ext cx="554672" cy="55467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27" name="Ellipse 33">
            <a:extLst>
              <a:ext uri="{FF2B5EF4-FFF2-40B4-BE49-F238E27FC236}">
                <a16:creationId xmlns:a16="http://schemas.microsoft.com/office/drawing/2014/main" id="{CFB805A6-D126-3AD7-D747-557BF2666467}"/>
              </a:ext>
            </a:extLst>
          </p:cNvPr>
          <p:cNvSpPr>
            <a:spLocks/>
          </p:cNvSpPr>
          <p:nvPr/>
        </p:nvSpPr>
        <p:spPr>
          <a:xfrm>
            <a:off x="1081772" y="2930208"/>
            <a:ext cx="554672" cy="55467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28" name="Ellipse 34">
            <a:extLst>
              <a:ext uri="{FF2B5EF4-FFF2-40B4-BE49-F238E27FC236}">
                <a16:creationId xmlns:a16="http://schemas.microsoft.com/office/drawing/2014/main" id="{671ADC69-8387-6E22-B0A7-27638121172C}"/>
              </a:ext>
            </a:extLst>
          </p:cNvPr>
          <p:cNvSpPr>
            <a:spLocks/>
          </p:cNvSpPr>
          <p:nvPr/>
        </p:nvSpPr>
        <p:spPr>
          <a:xfrm>
            <a:off x="1744444" y="2930208"/>
            <a:ext cx="554672" cy="55467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29" name="Ellipse 35">
            <a:extLst>
              <a:ext uri="{FF2B5EF4-FFF2-40B4-BE49-F238E27FC236}">
                <a16:creationId xmlns:a16="http://schemas.microsoft.com/office/drawing/2014/main" id="{0957EB18-9AF9-D6FC-0B7E-3C0EC95C19E7}"/>
              </a:ext>
            </a:extLst>
          </p:cNvPr>
          <p:cNvSpPr>
            <a:spLocks/>
          </p:cNvSpPr>
          <p:nvPr/>
        </p:nvSpPr>
        <p:spPr>
          <a:xfrm>
            <a:off x="2407116" y="2930208"/>
            <a:ext cx="554672" cy="55467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4</a:t>
            </a:r>
          </a:p>
        </p:txBody>
      </p:sp>
      <p:sp>
        <p:nvSpPr>
          <p:cNvPr id="30" name="Ellipse 36">
            <a:extLst>
              <a:ext uri="{FF2B5EF4-FFF2-40B4-BE49-F238E27FC236}">
                <a16:creationId xmlns:a16="http://schemas.microsoft.com/office/drawing/2014/main" id="{A39F3093-CF09-DF10-7859-B5B20395AA38}"/>
              </a:ext>
            </a:extLst>
          </p:cNvPr>
          <p:cNvSpPr>
            <a:spLocks/>
          </p:cNvSpPr>
          <p:nvPr/>
        </p:nvSpPr>
        <p:spPr>
          <a:xfrm>
            <a:off x="3069788" y="2930208"/>
            <a:ext cx="554672" cy="55467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5</a:t>
            </a:r>
          </a:p>
        </p:txBody>
      </p:sp>
      <p:sp>
        <p:nvSpPr>
          <p:cNvPr id="31" name="Ellipse 37">
            <a:extLst>
              <a:ext uri="{FF2B5EF4-FFF2-40B4-BE49-F238E27FC236}">
                <a16:creationId xmlns:a16="http://schemas.microsoft.com/office/drawing/2014/main" id="{93AD85F4-AF14-286B-C9BD-4F086F830018}"/>
              </a:ext>
            </a:extLst>
          </p:cNvPr>
          <p:cNvSpPr>
            <a:spLocks/>
          </p:cNvSpPr>
          <p:nvPr/>
        </p:nvSpPr>
        <p:spPr>
          <a:xfrm>
            <a:off x="3732460" y="2930208"/>
            <a:ext cx="554672" cy="55467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6</a:t>
            </a:r>
          </a:p>
        </p:txBody>
      </p:sp>
      <p:sp>
        <p:nvSpPr>
          <p:cNvPr id="32" name="Ellipse 38">
            <a:extLst>
              <a:ext uri="{FF2B5EF4-FFF2-40B4-BE49-F238E27FC236}">
                <a16:creationId xmlns:a16="http://schemas.microsoft.com/office/drawing/2014/main" id="{B083AC32-F8BE-0A02-321D-7AE97A466902}"/>
              </a:ext>
            </a:extLst>
          </p:cNvPr>
          <p:cNvSpPr>
            <a:spLocks/>
          </p:cNvSpPr>
          <p:nvPr/>
        </p:nvSpPr>
        <p:spPr>
          <a:xfrm>
            <a:off x="4395132" y="2930208"/>
            <a:ext cx="554672" cy="55467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7</a:t>
            </a:r>
          </a:p>
        </p:txBody>
      </p:sp>
      <p:sp>
        <p:nvSpPr>
          <p:cNvPr id="33" name="Ellipse 39">
            <a:extLst>
              <a:ext uri="{FF2B5EF4-FFF2-40B4-BE49-F238E27FC236}">
                <a16:creationId xmlns:a16="http://schemas.microsoft.com/office/drawing/2014/main" id="{C5E17B99-4024-201B-0DA6-558EF90D5A80}"/>
              </a:ext>
            </a:extLst>
          </p:cNvPr>
          <p:cNvSpPr>
            <a:spLocks/>
          </p:cNvSpPr>
          <p:nvPr/>
        </p:nvSpPr>
        <p:spPr>
          <a:xfrm>
            <a:off x="5057804" y="2930208"/>
            <a:ext cx="554672" cy="55467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8</a:t>
            </a:r>
          </a:p>
        </p:txBody>
      </p:sp>
      <p:sp>
        <p:nvSpPr>
          <p:cNvPr id="34" name="Ellipse 40">
            <a:extLst>
              <a:ext uri="{FF2B5EF4-FFF2-40B4-BE49-F238E27FC236}">
                <a16:creationId xmlns:a16="http://schemas.microsoft.com/office/drawing/2014/main" id="{2DFF3537-0BE6-C2C9-80BF-FB133030DB50}"/>
              </a:ext>
            </a:extLst>
          </p:cNvPr>
          <p:cNvSpPr>
            <a:spLocks/>
          </p:cNvSpPr>
          <p:nvPr/>
        </p:nvSpPr>
        <p:spPr>
          <a:xfrm>
            <a:off x="5720476" y="2930208"/>
            <a:ext cx="554672" cy="55467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9</a:t>
            </a:r>
          </a:p>
        </p:txBody>
      </p:sp>
      <p:sp>
        <p:nvSpPr>
          <p:cNvPr id="35" name="Ellipse 41">
            <a:extLst>
              <a:ext uri="{FF2B5EF4-FFF2-40B4-BE49-F238E27FC236}">
                <a16:creationId xmlns:a16="http://schemas.microsoft.com/office/drawing/2014/main" id="{8EDCE8B8-72F7-7682-89F4-6A9D6EB9A06B}"/>
              </a:ext>
            </a:extLst>
          </p:cNvPr>
          <p:cNvSpPr>
            <a:spLocks/>
          </p:cNvSpPr>
          <p:nvPr/>
        </p:nvSpPr>
        <p:spPr>
          <a:xfrm>
            <a:off x="6383148" y="2930208"/>
            <a:ext cx="554672" cy="55467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10</a:t>
            </a:r>
          </a:p>
        </p:txBody>
      </p:sp>
      <p:sp>
        <p:nvSpPr>
          <p:cNvPr id="36" name="Textplatzhalter 9">
            <a:extLst>
              <a:ext uri="{FF2B5EF4-FFF2-40B4-BE49-F238E27FC236}">
                <a16:creationId xmlns:a16="http://schemas.microsoft.com/office/drawing/2014/main" id="{ACC6E422-CE07-126D-9C1D-13D986F896DF}"/>
              </a:ext>
            </a:extLst>
          </p:cNvPr>
          <p:cNvSpPr txBox="1">
            <a:spLocks/>
          </p:cNvSpPr>
          <p:nvPr/>
        </p:nvSpPr>
        <p:spPr bwMode="gray">
          <a:xfrm>
            <a:off x="420789" y="3787002"/>
            <a:ext cx="6517031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ymbols and arrows</a:t>
            </a:r>
          </a:p>
        </p:txBody>
      </p:sp>
      <p:sp>
        <p:nvSpPr>
          <p:cNvPr id="37" name="Haken, check">
            <a:extLst>
              <a:ext uri="{FF2B5EF4-FFF2-40B4-BE49-F238E27FC236}">
                <a16:creationId xmlns:a16="http://schemas.microsoft.com/office/drawing/2014/main" id="{3D1699D1-2205-323F-423F-6EFB7AF3ADC1}"/>
              </a:ext>
            </a:extLst>
          </p:cNvPr>
          <p:cNvSpPr>
            <a:spLocks/>
          </p:cNvSpPr>
          <p:nvPr/>
        </p:nvSpPr>
        <p:spPr bwMode="auto">
          <a:xfrm>
            <a:off x="419100" y="4865463"/>
            <a:ext cx="554672" cy="554672"/>
          </a:xfrm>
          <a:custGeom>
            <a:avLst/>
            <a:gdLst>
              <a:gd name="T0" fmla="*/ 4549 w 4878"/>
              <a:gd name="T1" fmla="*/ 3658 h 4877"/>
              <a:gd name="T2" fmla="*/ 3659 w 4878"/>
              <a:gd name="T3" fmla="*/ 4548 h 4877"/>
              <a:gd name="T4" fmla="*/ 2439 w 4878"/>
              <a:gd name="T5" fmla="*/ 4877 h 4877"/>
              <a:gd name="T6" fmla="*/ 1220 w 4878"/>
              <a:gd name="T7" fmla="*/ 4548 h 4877"/>
              <a:gd name="T8" fmla="*/ 330 w 4878"/>
              <a:gd name="T9" fmla="*/ 3658 h 4877"/>
              <a:gd name="T10" fmla="*/ 0 w 4878"/>
              <a:gd name="T11" fmla="*/ 2439 h 4877"/>
              <a:gd name="T12" fmla="*/ 330 w 4878"/>
              <a:gd name="T13" fmla="*/ 1219 h 4877"/>
              <a:gd name="T14" fmla="*/ 1220 w 4878"/>
              <a:gd name="T15" fmla="*/ 329 h 4877"/>
              <a:gd name="T16" fmla="*/ 2439 w 4878"/>
              <a:gd name="T17" fmla="*/ 0 h 4877"/>
              <a:gd name="T18" fmla="*/ 3659 w 4878"/>
              <a:gd name="T19" fmla="*/ 329 h 4877"/>
              <a:gd name="T20" fmla="*/ 4549 w 4878"/>
              <a:gd name="T21" fmla="*/ 1219 h 4877"/>
              <a:gd name="T22" fmla="*/ 4878 w 4878"/>
              <a:gd name="T23" fmla="*/ 2439 h 4877"/>
              <a:gd name="T24" fmla="*/ 4549 w 4878"/>
              <a:gd name="T25" fmla="*/ 3658 h 4877"/>
              <a:gd name="T26" fmla="*/ 3963 w 4878"/>
              <a:gd name="T27" fmla="*/ 1917 h 4877"/>
              <a:gd name="T28" fmla="*/ 4013 w 4878"/>
              <a:gd name="T29" fmla="*/ 1809 h 4877"/>
              <a:gd name="T30" fmla="*/ 3963 w 4878"/>
              <a:gd name="T31" fmla="*/ 1701 h 4877"/>
              <a:gd name="T32" fmla="*/ 3747 w 4878"/>
              <a:gd name="T33" fmla="*/ 1475 h 4877"/>
              <a:gd name="T34" fmla="*/ 3634 w 4878"/>
              <a:gd name="T35" fmla="*/ 1426 h 4877"/>
              <a:gd name="T36" fmla="*/ 3521 w 4878"/>
              <a:gd name="T37" fmla="*/ 1475 h 4877"/>
              <a:gd name="T38" fmla="*/ 2046 w 4878"/>
              <a:gd name="T39" fmla="*/ 2950 h 4877"/>
              <a:gd name="T40" fmla="*/ 1358 w 4878"/>
              <a:gd name="T41" fmla="*/ 2262 h 4877"/>
              <a:gd name="T42" fmla="*/ 1244 w 4878"/>
              <a:gd name="T43" fmla="*/ 2212 h 4877"/>
              <a:gd name="T44" fmla="*/ 1131 w 4878"/>
              <a:gd name="T45" fmla="*/ 2262 h 4877"/>
              <a:gd name="T46" fmla="*/ 915 w 4878"/>
              <a:gd name="T47" fmla="*/ 2488 h 4877"/>
              <a:gd name="T48" fmla="*/ 866 w 4878"/>
              <a:gd name="T49" fmla="*/ 2596 h 4877"/>
              <a:gd name="T50" fmla="*/ 915 w 4878"/>
              <a:gd name="T51" fmla="*/ 2704 h 4877"/>
              <a:gd name="T52" fmla="*/ 1938 w 4878"/>
              <a:gd name="T53" fmla="*/ 3727 h 4877"/>
              <a:gd name="T54" fmla="*/ 2046 w 4878"/>
              <a:gd name="T55" fmla="*/ 3776 h 4877"/>
              <a:gd name="T56" fmla="*/ 2154 w 4878"/>
              <a:gd name="T57" fmla="*/ 3727 h 4877"/>
              <a:gd name="T58" fmla="*/ 3963 w 4878"/>
              <a:gd name="T59" fmla="*/ 1917 h 4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4878" h="4877">
                <a:moveTo>
                  <a:pt x="4549" y="3658"/>
                </a:moveTo>
                <a:cubicBezTo>
                  <a:pt x="4329" y="4032"/>
                  <a:pt x="4032" y="4328"/>
                  <a:pt x="3659" y="4548"/>
                </a:cubicBezTo>
                <a:cubicBezTo>
                  <a:pt x="3285" y="4768"/>
                  <a:pt x="2879" y="4877"/>
                  <a:pt x="2439" y="4877"/>
                </a:cubicBezTo>
                <a:cubicBezTo>
                  <a:pt x="2000" y="4877"/>
                  <a:pt x="1594" y="4768"/>
                  <a:pt x="1220" y="4548"/>
                </a:cubicBezTo>
                <a:cubicBezTo>
                  <a:pt x="846" y="4328"/>
                  <a:pt x="550" y="4032"/>
                  <a:pt x="330" y="3658"/>
                </a:cubicBezTo>
                <a:cubicBezTo>
                  <a:pt x="110" y="3284"/>
                  <a:pt x="0" y="2878"/>
                  <a:pt x="0" y="2439"/>
                </a:cubicBezTo>
                <a:cubicBezTo>
                  <a:pt x="0" y="1999"/>
                  <a:pt x="110" y="1593"/>
                  <a:pt x="330" y="1219"/>
                </a:cubicBezTo>
                <a:cubicBezTo>
                  <a:pt x="550" y="846"/>
                  <a:pt x="846" y="549"/>
                  <a:pt x="1220" y="329"/>
                </a:cubicBezTo>
                <a:cubicBezTo>
                  <a:pt x="1594" y="110"/>
                  <a:pt x="2000" y="0"/>
                  <a:pt x="2439" y="0"/>
                </a:cubicBezTo>
                <a:cubicBezTo>
                  <a:pt x="2879" y="0"/>
                  <a:pt x="3285" y="110"/>
                  <a:pt x="3659" y="329"/>
                </a:cubicBezTo>
                <a:cubicBezTo>
                  <a:pt x="4032" y="549"/>
                  <a:pt x="4329" y="846"/>
                  <a:pt x="4549" y="1219"/>
                </a:cubicBezTo>
                <a:cubicBezTo>
                  <a:pt x="4768" y="1593"/>
                  <a:pt x="4878" y="1999"/>
                  <a:pt x="4878" y="2439"/>
                </a:cubicBezTo>
                <a:cubicBezTo>
                  <a:pt x="4878" y="2878"/>
                  <a:pt x="4768" y="3284"/>
                  <a:pt x="4549" y="3658"/>
                </a:cubicBezTo>
                <a:close/>
                <a:moveTo>
                  <a:pt x="3963" y="1917"/>
                </a:moveTo>
                <a:cubicBezTo>
                  <a:pt x="3996" y="1891"/>
                  <a:pt x="4013" y="1855"/>
                  <a:pt x="4013" y="1809"/>
                </a:cubicBezTo>
                <a:cubicBezTo>
                  <a:pt x="4013" y="1763"/>
                  <a:pt x="3996" y="1727"/>
                  <a:pt x="3963" y="1701"/>
                </a:cubicBezTo>
                <a:cubicBezTo>
                  <a:pt x="3747" y="1475"/>
                  <a:pt x="3747" y="1475"/>
                  <a:pt x="3747" y="1475"/>
                </a:cubicBezTo>
                <a:cubicBezTo>
                  <a:pt x="3714" y="1442"/>
                  <a:pt x="3677" y="1426"/>
                  <a:pt x="3634" y="1426"/>
                </a:cubicBezTo>
                <a:cubicBezTo>
                  <a:pt x="3591" y="1426"/>
                  <a:pt x="3554" y="1442"/>
                  <a:pt x="3521" y="1475"/>
                </a:cubicBezTo>
                <a:cubicBezTo>
                  <a:pt x="2046" y="2950"/>
                  <a:pt x="2046" y="2950"/>
                  <a:pt x="2046" y="2950"/>
                </a:cubicBezTo>
                <a:cubicBezTo>
                  <a:pt x="1358" y="2262"/>
                  <a:pt x="1358" y="2262"/>
                  <a:pt x="1358" y="2262"/>
                </a:cubicBezTo>
                <a:cubicBezTo>
                  <a:pt x="1325" y="2229"/>
                  <a:pt x="1287" y="2212"/>
                  <a:pt x="1244" y="2212"/>
                </a:cubicBezTo>
                <a:cubicBezTo>
                  <a:pt x="1202" y="2212"/>
                  <a:pt x="1164" y="2229"/>
                  <a:pt x="1131" y="2262"/>
                </a:cubicBezTo>
                <a:cubicBezTo>
                  <a:pt x="915" y="2488"/>
                  <a:pt x="915" y="2488"/>
                  <a:pt x="915" y="2488"/>
                </a:cubicBezTo>
                <a:cubicBezTo>
                  <a:pt x="882" y="2514"/>
                  <a:pt x="866" y="2550"/>
                  <a:pt x="866" y="2596"/>
                </a:cubicBezTo>
                <a:cubicBezTo>
                  <a:pt x="866" y="2642"/>
                  <a:pt x="882" y="2678"/>
                  <a:pt x="915" y="2704"/>
                </a:cubicBezTo>
                <a:cubicBezTo>
                  <a:pt x="1938" y="3727"/>
                  <a:pt x="1938" y="3727"/>
                  <a:pt x="1938" y="3727"/>
                </a:cubicBezTo>
                <a:cubicBezTo>
                  <a:pt x="1964" y="3760"/>
                  <a:pt x="2000" y="3776"/>
                  <a:pt x="2046" y="3776"/>
                </a:cubicBezTo>
                <a:cubicBezTo>
                  <a:pt x="2092" y="3776"/>
                  <a:pt x="2128" y="3760"/>
                  <a:pt x="2154" y="3727"/>
                </a:cubicBezTo>
                <a:lnTo>
                  <a:pt x="3963" y="191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Cross, kreuz">
            <a:extLst>
              <a:ext uri="{FF2B5EF4-FFF2-40B4-BE49-F238E27FC236}">
                <a16:creationId xmlns:a16="http://schemas.microsoft.com/office/drawing/2014/main" id="{D9F9E022-7534-64A8-AB56-CE8AA75B7785}"/>
              </a:ext>
            </a:extLst>
          </p:cNvPr>
          <p:cNvSpPr>
            <a:spLocks/>
          </p:cNvSpPr>
          <p:nvPr/>
        </p:nvSpPr>
        <p:spPr bwMode="auto">
          <a:xfrm>
            <a:off x="1081772" y="4865463"/>
            <a:ext cx="554672" cy="554672"/>
          </a:xfrm>
          <a:custGeom>
            <a:avLst/>
            <a:gdLst>
              <a:gd name="T0" fmla="*/ 2438 w 4877"/>
              <a:gd name="T1" fmla="*/ 0 h 4877"/>
              <a:gd name="T2" fmla="*/ 3658 w 4877"/>
              <a:gd name="T3" fmla="*/ 329 h 4877"/>
              <a:gd name="T4" fmla="*/ 4548 w 4877"/>
              <a:gd name="T5" fmla="*/ 1219 h 4877"/>
              <a:gd name="T6" fmla="*/ 4877 w 4877"/>
              <a:gd name="T7" fmla="*/ 2439 h 4877"/>
              <a:gd name="T8" fmla="*/ 4548 w 4877"/>
              <a:gd name="T9" fmla="*/ 3658 h 4877"/>
              <a:gd name="T10" fmla="*/ 3658 w 4877"/>
              <a:gd name="T11" fmla="*/ 4548 h 4877"/>
              <a:gd name="T12" fmla="*/ 2438 w 4877"/>
              <a:gd name="T13" fmla="*/ 4877 h 4877"/>
              <a:gd name="T14" fmla="*/ 1219 w 4877"/>
              <a:gd name="T15" fmla="*/ 4548 h 4877"/>
              <a:gd name="T16" fmla="*/ 329 w 4877"/>
              <a:gd name="T17" fmla="*/ 3658 h 4877"/>
              <a:gd name="T18" fmla="*/ 0 w 4877"/>
              <a:gd name="T19" fmla="*/ 2439 h 4877"/>
              <a:gd name="T20" fmla="*/ 329 w 4877"/>
              <a:gd name="T21" fmla="*/ 1219 h 4877"/>
              <a:gd name="T22" fmla="*/ 1219 w 4877"/>
              <a:gd name="T23" fmla="*/ 329 h 4877"/>
              <a:gd name="T24" fmla="*/ 2438 w 4877"/>
              <a:gd name="T25" fmla="*/ 0 h 4877"/>
              <a:gd name="T26" fmla="*/ 3638 w 4877"/>
              <a:gd name="T27" fmla="*/ 3078 h 4877"/>
              <a:gd name="T28" fmla="*/ 2989 w 4877"/>
              <a:gd name="T29" fmla="*/ 2439 h 4877"/>
              <a:gd name="T30" fmla="*/ 3638 w 4877"/>
              <a:gd name="T31" fmla="*/ 1799 h 4877"/>
              <a:gd name="T32" fmla="*/ 3668 w 4877"/>
              <a:gd name="T33" fmla="*/ 1716 h 4877"/>
              <a:gd name="T34" fmla="*/ 3638 w 4877"/>
              <a:gd name="T35" fmla="*/ 1632 h 4877"/>
              <a:gd name="T36" fmla="*/ 3245 w 4877"/>
              <a:gd name="T37" fmla="*/ 1239 h 4877"/>
              <a:gd name="T38" fmla="*/ 3166 w 4877"/>
              <a:gd name="T39" fmla="*/ 1209 h 4877"/>
              <a:gd name="T40" fmla="*/ 3078 w 4877"/>
              <a:gd name="T41" fmla="*/ 1239 h 4877"/>
              <a:gd name="T42" fmla="*/ 2438 w 4877"/>
              <a:gd name="T43" fmla="*/ 1888 h 4877"/>
              <a:gd name="T44" fmla="*/ 1799 w 4877"/>
              <a:gd name="T45" fmla="*/ 1239 h 4877"/>
              <a:gd name="T46" fmla="*/ 1716 w 4877"/>
              <a:gd name="T47" fmla="*/ 1209 h 4877"/>
              <a:gd name="T48" fmla="*/ 1632 w 4877"/>
              <a:gd name="T49" fmla="*/ 1239 h 4877"/>
              <a:gd name="T50" fmla="*/ 1239 w 4877"/>
              <a:gd name="T51" fmla="*/ 1632 h 4877"/>
              <a:gd name="T52" fmla="*/ 1209 w 4877"/>
              <a:gd name="T53" fmla="*/ 1711 h 4877"/>
              <a:gd name="T54" fmla="*/ 1239 w 4877"/>
              <a:gd name="T55" fmla="*/ 1799 h 4877"/>
              <a:gd name="T56" fmla="*/ 1888 w 4877"/>
              <a:gd name="T57" fmla="*/ 2439 h 4877"/>
              <a:gd name="T58" fmla="*/ 1239 w 4877"/>
              <a:gd name="T59" fmla="*/ 3078 h 4877"/>
              <a:gd name="T60" fmla="*/ 1209 w 4877"/>
              <a:gd name="T61" fmla="*/ 3161 h 4877"/>
              <a:gd name="T62" fmla="*/ 1239 w 4877"/>
              <a:gd name="T63" fmla="*/ 3245 h 4877"/>
              <a:gd name="T64" fmla="*/ 1632 w 4877"/>
              <a:gd name="T65" fmla="*/ 3638 h 4877"/>
              <a:gd name="T66" fmla="*/ 1711 w 4877"/>
              <a:gd name="T67" fmla="*/ 3668 h 4877"/>
              <a:gd name="T68" fmla="*/ 1799 w 4877"/>
              <a:gd name="T69" fmla="*/ 3638 h 4877"/>
              <a:gd name="T70" fmla="*/ 2438 w 4877"/>
              <a:gd name="T71" fmla="*/ 2989 h 4877"/>
              <a:gd name="T72" fmla="*/ 3078 w 4877"/>
              <a:gd name="T73" fmla="*/ 3638 h 4877"/>
              <a:gd name="T74" fmla="*/ 3161 w 4877"/>
              <a:gd name="T75" fmla="*/ 3668 h 4877"/>
              <a:gd name="T76" fmla="*/ 3245 w 4877"/>
              <a:gd name="T77" fmla="*/ 3638 h 4877"/>
              <a:gd name="T78" fmla="*/ 3638 w 4877"/>
              <a:gd name="T79" fmla="*/ 3245 h 4877"/>
              <a:gd name="T80" fmla="*/ 3668 w 4877"/>
              <a:gd name="T81" fmla="*/ 3166 h 4877"/>
              <a:gd name="T82" fmla="*/ 3638 w 4877"/>
              <a:gd name="T83" fmla="*/ 3078 h 4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4877" h="4877">
                <a:moveTo>
                  <a:pt x="2438" y="0"/>
                </a:moveTo>
                <a:cubicBezTo>
                  <a:pt x="2878" y="0"/>
                  <a:pt x="3284" y="110"/>
                  <a:pt x="3658" y="329"/>
                </a:cubicBezTo>
                <a:cubicBezTo>
                  <a:pt x="4032" y="549"/>
                  <a:pt x="4328" y="846"/>
                  <a:pt x="4548" y="1219"/>
                </a:cubicBezTo>
                <a:cubicBezTo>
                  <a:pt x="4767" y="1593"/>
                  <a:pt x="4877" y="1999"/>
                  <a:pt x="4877" y="2439"/>
                </a:cubicBezTo>
                <a:cubicBezTo>
                  <a:pt x="4877" y="2878"/>
                  <a:pt x="4767" y="3284"/>
                  <a:pt x="4548" y="3658"/>
                </a:cubicBezTo>
                <a:cubicBezTo>
                  <a:pt x="4328" y="4032"/>
                  <a:pt x="4032" y="4328"/>
                  <a:pt x="3658" y="4548"/>
                </a:cubicBezTo>
                <a:cubicBezTo>
                  <a:pt x="3284" y="4768"/>
                  <a:pt x="2878" y="4877"/>
                  <a:pt x="2438" y="4877"/>
                </a:cubicBezTo>
                <a:cubicBezTo>
                  <a:pt x="1999" y="4877"/>
                  <a:pt x="1593" y="4768"/>
                  <a:pt x="1219" y="4548"/>
                </a:cubicBezTo>
                <a:cubicBezTo>
                  <a:pt x="845" y="4328"/>
                  <a:pt x="549" y="4032"/>
                  <a:pt x="329" y="3658"/>
                </a:cubicBezTo>
                <a:cubicBezTo>
                  <a:pt x="109" y="3284"/>
                  <a:pt x="0" y="2878"/>
                  <a:pt x="0" y="2439"/>
                </a:cubicBezTo>
                <a:cubicBezTo>
                  <a:pt x="0" y="1999"/>
                  <a:pt x="109" y="1593"/>
                  <a:pt x="329" y="1219"/>
                </a:cubicBezTo>
                <a:cubicBezTo>
                  <a:pt x="549" y="846"/>
                  <a:pt x="845" y="549"/>
                  <a:pt x="1219" y="329"/>
                </a:cubicBezTo>
                <a:cubicBezTo>
                  <a:pt x="1593" y="110"/>
                  <a:pt x="1999" y="0"/>
                  <a:pt x="2438" y="0"/>
                </a:cubicBezTo>
                <a:close/>
                <a:moveTo>
                  <a:pt x="3638" y="3078"/>
                </a:moveTo>
                <a:cubicBezTo>
                  <a:pt x="2989" y="2439"/>
                  <a:pt x="2989" y="2439"/>
                  <a:pt x="2989" y="2439"/>
                </a:cubicBezTo>
                <a:cubicBezTo>
                  <a:pt x="3638" y="1799"/>
                  <a:pt x="3638" y="1799"/>
                  <a:pt x="3638" y="1799"/>
                </a:cubicBezTo>
                <a:cubicBezTo>
                  <a:pt x="3658" y="1773"/>
                  <a:pt x="3668" y="1745"/>
                  <a:pt x="3668" y="1716"/>
                </a:cubicBezTo>
                <a:cubicBezTo>
                  <a:pt x="3668" y="1686"/>
                  <a:pt x="3658" y="1659"/>
                  <a:pt x="3638" y="1632"/>
                </a:cubicBezTo>
                <a:cubicBezTo>
                  <a:pt x="3245" y="1239"/>
                  <a:pt x="3245" y="1239"/>
                  <a:pt x="3245" y="1239"/>
                </a:cubicBezTo>
                <a:cubicBezTo>
                  <a:pt x="3225" y="1219"/>
                  <a:pt x="3199" y="1209"/>
                  <a:pt x="3166" y="1209"/>
                </a:cubicBezTo>
                <a:cubicBezTo>
                  <a:pt x="3133" y="1209"/>
                  <a:pt x="3104" y="1219"/>
                  <a:pt x="3078" y="1239"/>
                </a:cubicBezTo>
                <a:cubicBezTo>
                  <a:pt x="2438" y="1888"/>
                  <a:pt x="2438" y="1888"/>
                  <a:pt x="2438" y="1888"/>
                </a:cubicBezTo>
                <a:cubicBezTo>
                  <a:pt x="1799" y="1239"/>
                  <a:pt x="1799" y="1239"/>
                  <a:pt x="1799" y="1239"/>
                </a:cubicBezTo>
                <a:cubicBezTo>
                  <a:pt x="1773" y="1219"/>
                  <a:pt x="1745" y="1209"/>
                  <a:pt x="1716" y="1209"/>
                </a:cubicBezTo>
                <a:cubicBezTo>
                  <a:pt x="1686" y="1209"/>
                  <a:pt x="1658" y="1219"/>
                  <a:pt x="1632" y="1239"/>
                </a:cubicBezTo>
                <a:cubicBezTo>
                  <a:pt x="1239" y="1632"/>
                  <a:pt x="1239" y="1632"/>
                  <a:pt x="1239" y="1632"/>
                </a:cubicBezTo>
                <a:cubicBezTo>
                  <a:pt x="1219" y="1652"/>
                  <a:pt x="1209" y="1678"/>
                  <a:pt x="1209" y="1711"/>
                </a:cubicBezTo>
                <a:cubicBezTo>
                  <a:pt x="1209" y="1744"/>
                  <a:pt x="1219" y="1773"/>
                  <a:pt x="1239" y="1799"/>
                </a:cubicBezTo>
                <a:cubicBezTo>
                  <a:pt x="1888" y="2439"/>
                  <a:pt x="1888" y="2439"/>
                  <a:pt x="1888" y="2439"/>
                </a:cubicBezTo>
                <a:cubicBezTo>
                  <a:pt x="1239" y="3078"/>
                  <a:pt x="1239" y="3078"/>
                  <a:pt x="1239" y="3078"/>
                </a:cubicBezTo>
                <a:cubicBezTo>
                  <a:pt x="1219" y="3104"/>
                  <a:pt x="1209" y="3132"/>
                  <a:pt x="1209" y="3161"/>
                </a:cubicBezTo>
                <a:cubicBezTo>
                  <a:pt x="1209" y="3191"/>
                  <a:pt x="1219" y="3219"/>
                  <a:pt x="1239" y="3245"/>
                </a:cubicBezTo>
                <a:cubicBezTo>
                  <a:pt x="1632" y="3638"/>
                  <a:pt x="1632" y="3638"/>
                  <a:pt x="1632" y="3638"/>
                </a:cubicBezTo>
                <a:cubicBezTo>
                  <a:pt x="1652" y="3658"/>
                  <a:pt x="1678" y="3668"/>
                  <a:pt x="1711" y="3668"/>
                </a:cubicBezTo>
                <a:cubicBezTo>
                  <a:pt x="1744" y="3668"/>
                  <a:pt x="1773" y="3658"/>
                  <a:pt x="1799" y="3638"/>
                </a:cubicBezTo>
                <a:cubicBezTo>
                  <a:pt x="2438" y="2989"/>
                  <a:pt x="2438" y="2989"/>
                  <a:pt x="2438" y="2989"/>
                </a:cubicBezTo>
                <a:cubicBezTo>
                  <a:pt x="3078" y="3638"/>
                  <a:pt x="3078" y="3638"/>
                  <a:pt x="3078" y="3638"/>
                </a:cubicBezTo>
                <a:cubicBezTo>
                  <a:pt x="3104" y="3658"/>
                  <a:pt x="3132" y="3668"/>
                  <a:pt x="3161" y="3668"/>
                </a:cubicBezTo>
                <a:cubicBezTo>
                  <a:pt x="3191" y="3668"/>
                  <a:pt x="3219" y="3658"/>
                  <a:pt x="3245" y="3638"/>
                </a:cubicBezTo>
                <a:cubicBezTo>
                  <a:pt x="3638" y="3245"/>
                  <a:pt x="3638" y="3245"/>
                  <a:pt x="3638" y="3245"/>
                </a:cubicBezTo>
                <a:cubicBezTo>
                  <a:pt x="3658" y="3225"/>
                  <a:pt x="3668" y="3199"/>
                  <a:pt x="3668" y="3166"/>
                </a:cubicBezTo>
                <a:cubicBezTo>
                  <a:pt x="3668" y="3134"/>
                  <a:pt x="3658" y="3104"/>
                  <a:pt x="3638" y="307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Minus">
            <a:extLst>
              <a:ext uri="{FF2B5EF4-FFF2-40B4-BE49-F238E27FC236}">
                <a16:creationId xmlns:a16="http://schemas.microsoft.com/office/drawing/2014/main" id="{3C436747-DC71-ED70-1B0A-04E9AA8C9E60}"/>
              </a:ext>
            </a:extLst>
          </p:cNvPr>
          <p:cNvSpPr>
            <a:spLocks/>
          </p:cNvSpPr>
          <p:nvPr/>
        </p:nvSpPr>
        <p:spPr bwMode="auto">
          <a:xfrm>
            <a:off x="2407116" y="4865463"/>
            <a:ext cx="554672" cy="554672"/>
          </a:xfrm>
          <a:custGeom>
            <a:avLst/>
            <a:gdLst>
              <a:gd name="T0" fmla="*/ 2439 w 4877"/>
              <a:gd name="T1" fmla="*/ 0 h 4877"/>
              <a:gd name="T2" fmla="*/ 3658 w 4877"/>
              <a:gd name="T3" fmla="*/ 329 h 4877"/>
              <a:gd name="T4" fmla="*/ 4548 w 4877"/>
              <a:gd name="T5" fmla="*/ 1219 h 4877"/>
              <a:gd name="T6" fmla="*/ 4877 w 4877"/>
              <a:gd name="T7" fmla="*/ 2439 h 4877"/>
              <a:gd name="T8" fmla="*/ 4548 w 4877"/>
              <a:gd name="T9" fmla="*/ 3658 h 4877"/>
              <a:gd name="T10" fmla="*/ 3658 w 4877"/>
              <a:gd name="T11" fmla="*/ 4548 h 4877"/>
              <a:gd name="T12" fmla="*/ 2439 w 4877"/>
              <a:gd name="T13" fmla="*/ 4877 h 4877"/>
              <a:gd name="T14" fmla="*/ 1219 w 4877"/>
              <a:gd name="T15" fmla="*/ 4548 h 4877"/>
              <a:gd name="T16" fmla="*/ 329 w 4877"/>
              <a:gd name="T17" fmla="*/ 3658 h 4877"/>
              <a:gd name="T18" fmla="*/ 0 w 4877"/>
              <a:gd name="T19" fmla="*/ 2439 h 4877"/>
              <a:gd name="T20" fmla="*/ 329 w 4877"/>
              <a:gd name="T21" fmla="*/ 1219 h 4877"/>
              <a:gd name="T22" fmla="*/ 1219 w 4877"/>
              <a:gd name="T23" fmla="*/ 329 h 4877"/>
              <a:gd name="T24" fmla="*/ 2439 w 4877"/>
              <a:gd name="T25" fmla="*/ 0 h 4877"/>
              <a:gd name="T26" fmla="*/ 1141 w 4877"/>
              <a:gd name="T27" fmla="*/ 2832 h 4877"/>
              <a:gd name="T28" fmla="*/ 3737 w 4877"/>
              <a:gd name="T29" fmla="*/ 2832 h 4877"/>
              <a:gd name="T30" fmla="*/ 3820 w 4877"/>
              <a:gd name="T31" fmla="*/ 2798 h 4877"/>
              <a:gd name="T32" fmla="*/ 3855 w 4877"/>
              <a:gd name="T33" fmla="*/ 2714 h 4877"/>
              <a:gd name="T34" fmla="*/ 3855 w 4877"/>
              <a:gd name="T35" fmla="*/ 2163 h 4877"/>
              <a:gd name="T36" fmla="*/ 3820 w 4877"/>
              <a:gd name="T37" fmla="*/ 2080 h 4877"/>
              <a:gd name="T38" fmla="*/ 3737 w 4877"/>
              <a:gd name="T39" fmla="*/ 2045 h 4877"/>
              <a:gd name="T40" fmla="*/ 1141 w 4877"/>
              <a:gd name="T41" fmla="*/ 2045 h 4877"/>
              <a:gd name="T42" fmla="*/ 1057 w 4877"/>
              <a:gd name="T43" fmla="*/ 2080 h 4877"/>
              <a:gd name="T44" fmla="*/ 1023 w 4877"/>
              <a:gd name="T45" fmla="*/ 2163 h 4877"/>
              <a:gd name="T46" fmla="*/ 1023 w 4877"/>
              <a:gd name="T47" fmla="*/ 2714 h 4877"/>
              <a:gd name="T48" fmla="*/ 1057 w 4877"/>
              <a:gd name="T49" fmla="*/ 2798 h 4877"/>
              <a:gd name="T50" fmla="*/ 1141 w 4877"/>
              <a:gd name="T51" fmla="*/ 2832 h 4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4877" h="4877">
                <a:moveTo>
                  <a:pt x="2439" y="0"/>
                </a:moveTo>
                <a:cubicBezTo>
                  <a:pt x="2878" y="0"/>
                  <a:pt x="3284" y="110"/>
                  <a:pt x="3658" y="329"/>
                </a:cubicBezTo>
                <a:cubicBezTo>
                  <a:pt x="4032" y="549"/>
                  <a:pt x="4328" y="846"/>
                  <a:pt x="4548" y="1219"/>
                </a:cubicBezTo>
                <a:cubicBezTo>
                  <a:pt x="4768" y="1593"/>
                  <a:pt x="4877" y="1999"/>
                  <a:pt x="4877" y="2439"/>
                </a:cubicBezTo>
                <a:cubicBezTo>
                  <a:pt x="4877" y="2878"/>
                  <a:pt x="4768" y="3284"/>
                  <a:pt x="4548" y="3658"/>
                </a:cubicBezTo>
                <a:cubicBezTo>
                  <a:pt x="4328" y="4032"/>
                  <a:pt x="4032" y="4328"/>
                  <a:pt x="3658" y="4548"/>
                </a:cubicBezTo>
                <a:cubicBezTo>
                  <a:pt x="3284" y="4768"/>
                  <a:pt x="2878" y="4877"/>
                  <a:pt x="2439" y="4877"/>
                </a:cubicBezTo>
                <a:cubicBezTo>
                  <a:pt x="1999" y="4877"/>
                  <a:pt x="1593" y="4768"/>
                  <a:pt x="1219" y="4548"/>
                </a:cubicBezTo>
                <a:cubicBezTo>
                  <a:pt x="846" y="4328"/>
                  <a:pt x="549" y="4032"/>
                  <a:pt x="329" y="3658"/>
                </a:cubicBezTo>
                <a:cubicBezTo>
                  <a:pt x="110" y="3284"/>
                  <a:pt x="0" y="2878"/>
                  <a:pt x="0" y="2439"/>
                </a:cubicBezTo>
                <a:cubicBezTo>
                  <a:pt x="0" y="1999"/>
                  <a:pt x="110" y="1593"/>
                  <a:pt x="329" y="1219"/>
                </a:cubicBezTo>
                <a:cubicBezTo>
                  <a:pt x="549" y="846"/>
                  <a:pt x="846" y="549"/>
                  <a:pt x="1219" y="329"/>
                </a:cubicBezTo>
                <a:cubicBezTo>
                  <a:pt x="1593" y="110"/>
                  <a:pt x="1999" y="0"/>
                  <a:pt x="2439" y="0"/>
                </a:cubicBezTo>
                <a:close/>
                <a:moveTo>
                  <a:pt x="1141" y="2832"/>
                </a:moveTo>
                <a:cubicBezTo>
                  <a:pt x="3737" y="2832"/>
                  <a:pt x="3737" y="2832"/>
                  <a:pt x="3737" y="2832"/>
                </a:cubicBezTo>
                <a:cubicBezTo>
                  <a:pt x="3769" y="2832"/>
                  <a:pt x="3797" y="2821"/>
                  <a:pt x="3820" y="2798"/>
                </a:cubicBezTo>
                <a:cubicBezTo>
                  <a:pt x="3843" y="2775"/>
                  <a:pt x="3855" y="2747"/>
                  <a:pt x="3855" y="2714"/>
                </a:cubicBezTo>
                <a:cubicBezTo>
                  <a:pt x="3855" y="2163"/>
                  <a:pt x="3855" y="2163"/>
                  <a:pt x="3855" y="2163"/>
                </a:cubicBezTo>
                <a:cubicBezTo>
                  <a:pt x="3855" y="2131"/>
                  <a:pt x="3843" y="2103"/>
                  <a:pt x="3820" y="2080"/>
                </a:cubicBezTo>
                <a:cubicBezTo>
                  <a:pt x="3797" y="2057"/>
                  <a:pt x="3769" y="2045"/>
                  <a:pt x="3737" y="2045"/>
                </a:cubicBezTo>
                <a:cubicBezTo>
                  <a:pt x="1141" y="2045"/>
                  <a:pt x="1141" y="2045"/>
                  <a:pt x="1141" y="2045"/>
                </a:cubicBezTo>
                <a:cubicBezTo>
                  <a:pt x="1108" y="2045"/>
                  <a:pt x="1080" y="2057"/>
                  <a:pt x="1057" y="2080"/>
                </a:cubicBezTo>
                <a:cubicBezTo>
                  <a:pt x="1034" y="2103"/>
                  <a:pt x="1023" y="2131"/>
                  <a:pt x="1023" y="2163"/>
                </a:cubicBezTo>
                <a:cubicBezTo>
                  <a:pt x="1023" y="2714"/>
                  <a:pt x="1023" y="2714"/>
                  <a:pt x="1023" y="2714"/>
                </a:cubicBezTo>
                <a:cubicBezTo>
                  <a:pt x="1023" y="2747"/>
                  <a:pt x="1034" y="2775"/>
                  <a:pt x="1057" y="2798"/>
                </a:cubicBezTo>
                <a:cubicBezTo>
                  <a:pt x="1080" y="2821"/>
                  <a:pt x="1108" y="2832"/>
                  <a:pt x="1141" y="283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Fragezeichen, question">
            <a:extLst>
              <a:ext uri="{FF2B5EF4-FFF2-40B4-BE49-F238E27FC236}">
                <a16:creationId xmlns:a16="http://schemas.microsoft.com/office/drawing/2014/main" id="{06C406C1-ACC4-59C6-913A-CD39439ACECF}"/>
              </a:ext>
            </a:extLst>
          </p:cNvPr>
          <p:cNvSpPr>
            <a:spLocks/>
          </p:cNvSpPr>
          <p:nvPr/>
        </p:nvSpPr>
        <p:spPr bwMode="auto">
          <a:xfrm>
            <a:off x="3069788" y="4865463"/>
            <a:ext cx="554672" cy="554672"/>
          </a:xfrm>
          <a:custGeom>
            <a:avLst/>
            <a:gdLst>
              <a:gd name="T0" fmla="*/ 4548 w 4878"/>
              <a:gd name="T1" fmla="*/ 3658 h 4877"/>
              <a:gd name="T2" fmla="*/ 3658 w 4878"/>
              <a:gd name="T3" fmla="*/ 4548 h 4877"/>
              <a:gd name="T4" fmla="*/ 2439 w 4878"/>
              <a:gd name="T5" fmla="*/ 4877 h 4877"/>
              <a:gd name="T6" fmla="*/ 1220 w 4878"/>
              <a:gd name="T7" fmla="*/ 4548 h 4877"/>
              <a:gd name="T8" fmla="*/ 330 w 4878"/>
              <a:gd name="T9" fmla="*/ 3658 h 4877"/>
              <a:gd name="T10" fmla="*/ 0 w 4878"/>
              <a:gd name="T11" fmla="*/ 2439 h 4877"/>
              <a:gd name="T12" fmla="*/ 330 w 4878"/>
              <a:gd name="T13" fmla="*/ 1219 h 4877"/>
              <a:gd name="T14" fmla="*/ 1220 w 4878"/>
              <a:gd name="T15" fmla="*/ 329 h 4877"/>
              <a:gd name="T16" fmla="*/ 2439 w 4878"/>
              <a:gd name="T17" fmla="*/ 0 h 4877"/>
              <a:gd name="T18" fmla="*/ 3658 w 4878"/>
              <a:gd name="T19" fmla="*/ 329 h 4877"/>
              <a:gd name="T20" fmla="*/ 4548 w 4878"/>
              <a:gd name="T21" fmla="*/ 1219 h 4877"/>
              <a:gd name="T22" fmla="*/ 4878 w 4878"/>
              <a:gd name="T23" fmla="*/ 2439 h 4877"/>
              <a:gd name="T24" fmla="*/ 4548 w 4878"/>
              <a:gd name="T25" fmla="*/ 3658 h 4877"/>
              <a:gd name="T26" fmla="*/ 1829 w 4878"/>
              <a:gd name="T27" fmla="*/ 973 h 4877"/>
              <a:gd name="T28" fmla="*/ 1357 w 4878"/>
              <a:gd name="T29" fmla="*/ 1436 h 4877"/>
              <a:gd name="T30" fmla="*/ 1338 w 4878"/>
              <a:gd name="T31" fmla="*/ 1519 h 4877"/>
              <a:gd name="T32" fmla="*/ 1387 w 4878"/>
              <a:gd name="T33" fmla="*/ 1593 h 4877"/>
              <a:gd name="T34" fmla="*/ 1731 w 4878"/>
              <a:gd name="T35" fmla="*/ 1849 h 4877"/>
              <a:gd name="T36" fmla="*/ 1810 w 4878"/>
              <a:gd name="T37" fmla="*/ 1873 h 4877"/>
              <a:gd name="T38" fmla="*/ 1888 w 4878"/>
              <a:gd name="T39" fmla="*/ 1829 h 4877"/>
              <a:gd name="T40" fmla="*/ 2134 w 4878"/>
              <a:gd name="T41" fmla="*/ 1573 h 4877"/>
              <a:gd name="T42" fmla="*/ 2449 w 4878"/>
              <a:gd name="T43" fmla="*/ 1475 h 4877"/>
              <a:gd name="T44" fmla="*/ 2759 w 4878"/>
              <a:gd name="T45" fmla="*/ 1568 h 4877"/>
              <a:gd name="T46" fmla="*/ 2901 w 4878"/>
              <a:gd name="T47" fmla="*/ 1799 h 4877"/>
              <a:gd name="T48" fmla="*/ 2813 w 4878"/>
              <a:gd name="T49" fmla="*/ 1986 h 4877"/>
              <a:gd name="T50" fmla="*/ 2587 w 4878"/>
              <a:gd name="T51" fmla="*/ 2134 h 4877"/>
              <a:gd name="T52" fmla="*/ 2567 w 4878"/>
              <a:gd name="T53" fmla="*/ 2144 h 4877"/>
              <a:gd name="T54" fmla="*/ 2223 w 4878"/>
              <a:gd name="T55" fmla="*/ 2389 h 4877"/>
              <a:gd name="T56" fmla="*/ 2046 w 4878"/>
              <a:gd name="T57" fmla="*/ 2832 h 4877"/>
              <a:gd name="T58" fmla="*/ 2046 w 4878"/>
              <a:gd name="T59" fmla="*/ 2871 h 4877"/>
              <a:gd name="T60" fmla="*/ 2080 w 4878"/>
              <a:gd name="T61" fmla="*/ 2955 h 4877"/>
              <a:gd name="T62" fmla="*/ 2164 w 4878"/>
              <a:gd name="T63" fmla="*/ 2989 h 4877"/>
              <a:gd name="T64" fmla="*/ 2714 w 4878"/>
              <a:gd name="T65" fmla="*/ 2989 h 4877"/>
              <a:gd name="T66" fmla="*/ 2798 w 4878"/>
              <a:gd name="T67" fmla="*/ 2955 h 4877"/>
              <a:gd name="T68" fmla="*/ 2832 w 4878"/>
              <a:gd name="T69" fmla="*/ 2871 h 4877"/>
              <a:gd name="T70" fmla="*/ 2832 w 4878"/>
              <a:gd name="T71" fmla="*/ 2862 h 4877"/>
              <a:gd name="T72" fmla="*/ 2911 w 4878"/>
              <a:gd name="T73" fmla="*/ 2724 h 4877"/>
              <a:gd name="T74" fmla="*/ 3098 w 4878"/>
              <a:gd name="T75" fmla="*/ 2606 h 4877"/>
              <a:gd name="T76" fmla="*/ 3462 w 4878"/>
              <a:gd name="T77" fmla="*/ 2330 h 4877"/>
              <a:gd name="T78" fmla="*/ 3649 w 4878"/>
              <a:gd name="T79" fmla="*/ 1809 h 4877"/>
              <a:gd name="T80" fmla="*/ 3481 w 4878"/>
              <a:gd name="T81" fmla="*/ 1303 h 4877"/>
              <a:gd name="T82" fmla="*/ 3049 w 4878"/>
              <a:gd name="T83" fmla="*/ 939 h 4877"/>
              <a:gd name="T84" fmla="*/ 2508 w 4878"/>
              <a:gd name="T85" fmla="*/ 806 h 4877"/>
              <a:gd name="T86" fmla="*/ 1829 w 4878"/>
              <a:gd name="T87" fmla="*/ 973 h 4877"/>
              <a:gd name="T88" fmla="*/ 2119 w 4878"/>
              <a:gd name="T89" fmla="*/ 3378 h 4877"/>
              <a:gd name="T90" fmla="*/ 1987 w 4878"/>
              <a:gd name="T91" fmla="*/ 3697 h 4877"/>
              <a:gd name="T92" fmla="*/ 2119 w 4878"/>
              <a:gd name="T93" fmla="*/ 4017 h 4877"/>
              <a:gd name="T94" fmla="*/ 2439 w 4878"/>
              <a:gd name="T95" fmla="*/ 4150 h 4877"/>
              <a:gd name="T96" fmla="*/ 2759 w 4878"/>
              <a:gd name="T97" fmla="*/ 4017 h 4877"/>
              <a:gd name="T98" fmla="*/ 2891 w 4878"/>
              <a:gd name="T99" fmla="*/ 3697 h 4877"/>
              <a:gd name="T100" fmla="*/ 2759 w 4878"/>
              <a:gd name="T101" fmla="*/ 3378 h 4877"/>
              <a:gd name="T102" fmla="*/ 2439 w 4878"/>
              <a:gd name="T103" fmla="*/ 3245 h 4877"/>
              <a:gd name="T104" fmla="*/ 2119 w 4878"/>
              <a:gd name="T105" fmla="*/ 3378 h 4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878" h="4877">
                <a:moveTo>
                  <a:pt x="4548" y="3658"/>
                </a:moveTo>
                <a:cubicBezTo>
                  <a:pt x="4329" y="4032"/>
                  <a:pt x="4032" y="4328"/>
                  <a:pt x="3658" y="4548"/>
                </a:cubicBezTo>
                <a:cubicBezTo>
                  <a:pt x="3285" y="4768"/>
                  <a:pt x="2878" y="4877"/>
                  <a:pt x="2439" y="4877"/>
                </a:cubicBezTo>
                <a:cubicBezTo>
                  <a:pt x="2000" y="4877"/>
                  <a:pt x="1593" y="4768"/>
                  <a:pt x="1220" y="4548"/>
                </a:cubicBezTo>
                <a:cubicBezTo>
                  <a:pt x="846" y="4328"/>
                  <a:pt x="549" y="4032"/>
                  <a:pt x="330" y="3658"/>
                </a:cubicBezTo>
                <a:cubicBezTo>
                  <a:pt x="110" y="3284"/>
                  <a:pt x="0" y="2878"/>
                  <a:pt x="0" y="2439"/>
                </a:cubicBezTo>
                <a:cubicBezTo>
                  <a:pt x="0" y="1999"/>
                  <a:pt x="110" y="1593"/>
                  <a:pt x="330" y="1219"/>
                </a:cubicBezTo>
                <a:cubicBezTo>
                  <a:pt x="549" y="846"/>
                  <a:pt x="846" y="549"/>
                  <a:pt x="1220" y="329"/>
                </a:cubicBezTo>
                <a:cubicBezTo>
                  <a:pt x="1593" y="110"/>
                  <a:pt x="2000" y="0"/>
                  <a:pt x="2439" y="0"/>
                </a:cubicBezTo>
                <a:cubicBezTo>
                  <a:pt x="2878" y="0"/>
                  <a:pt x="3285" y="110"/>
                  <a:pt x="3658" y="329"/>
                </a:cubicBezTo>
                <a:cubicBezTo>
                  <a:pt x="4032" y="549"/>
                  <a:pt x="4329" y="846"/>
                  <a:pt x="4548" y="1219"/>
                </a:cubicBezTo>
                <a:cubicBezTo>
                  <a:pt x="4768" y="1593"/>
                  <a:pt x="4878" y="1999"/>
                  <a:pt x="4878" y="2439"/>
                </a:cubicBezTo>
                <a:cubicBezTo>
                  <a:pt x="4878" y="2878"/>
                  <a:pt x="4768" y="3284"/>
                  <a:pt x="4548" y="3658"/>
                </a:cubicBezTo>
                <a:close/>
                <a:moveTo>
                  <a:pt x="1829" y="973"/>
                </a:moveTo>
                <a:cubicBezTo>
                  <a:pt x="1652" y="1072"/>
                  <a:pt x="1495" y="1226"/>
                  <a:pt x="1357" y="1436"/>
                </a:cubicBezTo>
                <a:cubicBezTo>
                  <a:pt x="1338" y="1462"/>
                  <a:pt x="1331" y="1490"/>
                  <a:pt x="1338" y="1519"/>
                </a:cubicBezTo>
                <a:cubicBezTo>
                  <a:pt x="1344" y="1549"/>
                  <a:pt x="1361" y="1573"/>
                  <a:pt x="1387" y="1593"/>
                </a:cubicBezTo>
                <a:cubicBezTo>
                  <a:pt x="1731" y="1849"/>
                  <a:pt x="1731" y="1849"/>
                  <a:pt x="1731" y="1849"/>
                </a:cubicBezTo>
                <a:cubicBezTo>
                  <a:pt x="1751" y="1868"/>
                  <a:pt x="1777" y="1876"/>
                  <a:pt x="1810" y="1873"/>
                </a:cubicBezTo>
                <a:cubicBezTo>
                  <a:pt x="1843" y="1870"/>
                  <a:pt x="1869" y="1855"/>
                  <a:pt x="1888" y="1829"/>
                </a:cubicBezTo>
                <a:cubicBezTo>
                  <a:pt x="1993" y="1704"/>
                  <a:pt x="2075" y="1619"/>
                  <a:pt x="2134" y="1573"/>
                </a:cubicBezTo>
                <a:cubicBezTo>
                  <a:pt x="2226" y="1508"/>
                  <a:pt x="2331" y="1475"/>
                  <a:pt x="2449" y="1475"/>
                </a:cubicBezTo>
                <a:cubicBezTo>
                  <a:pt x="2560" y="1475"/>
                  <a:pt x="2664" y="1506"/>
                  <a:pt x="2759" y="1568"/>
                </a:cubicBezTo>
                <a:cubicBezTo>
                  <a:pt x="2854" y="1631"/>
                  <a:pt x="2901" y="1708"/>
                  <a:pt x="2901" y="1799"/>
                </a:cubicBezTo>
                <a:cubicBezTo>
                  <a:pt x="2901" y="1872"/>
                  <a:pt x="2872" y="1934"/>
                  <a:pt x="2813" y="1986"/>
                </a:cubicBezTo>
                <a:cubicBezTo>
                  <a:pt x="2773" y="2019"/>
                  <a:pt x="2698" y="2068"/>
                  <a:pt x="2587" y="2134"/>
                </a:cubicBezTo>
                <a:cubicBezTo>
                  <a:pt x="2567" y="2144"/>
                  <a:pt x="2567" y="2144"/>
                  <a:pt x="2567" y="2144"/>
                </a:cubicBezTo>
                <a:cubicBezTo>
                  <a:pt x="2403" y="2235"/>
                  <a:pt x="2288" y="2317"/>
                  <a:pt x="2223" y="2389"/>
                </a:cubicBezTo>
                <a:cubicBezTo>
                  <a:pt x="2105" y="2514"/>
                  <a:pt x="2046" y="2662"/>
                  <a:pt x="2046" y="2832"/>
                </a:cubicBezTo>
                <a:cubicBezTo>
                  <a:pt x="2046" y="2871"/>
                  <a:pt x="2046" y="2871"/>
                  <a:pt x="2046" y="2871"/>
                </a:cubicBezTo>
                <a:cubicBezTo>
                  <a:pt x="2046" y="2904"/>
                  <a:pt x="2057" y="2932"/>
                  <a:pt x="2080" y="2955"/>
                </a:cubicBezTo>
                <a:cubicBezTo>
                  <a:pt x="2103" y="2978"/>
                  <a:pt x="2131" y="2989"/>
                  <a:pt x="2164" y="2989"/>
                </a:cubicBezTo>
                <a:cubicBezTo>
                  <a:pt x="2714" y="2989"/>
                  <a:pt x="2714" y="2989"/>
                  <a:pt x="2714" y="2989"/>
                </a:cubicBezTo>
                <a:cubicBezTo>
                  <a:pt x="2747" y="2989"/>
                  <a:pt x="2775" y="2978"/>
                  <a:pt x="2798" y="2955"/>
                </a:cubicBezTo>
                <a:cubicBezTo>
                  <a:pt x="2821" y="2932"/>
                  <a:pt x="2832" y="2904"/>
                  <a:pt x="2832" y="2871"/>
                </a:cubicBezTo>
                <a:cubicBezTo>
                  <a:pt x="2832" y="2862"/>
                  <a:pt x="2832" y="2862"/>
                  <a:pt x="2832" y="2862"/>
                </a:cubicBezTo>
                <a:cubicBezTo>
                  <a:pt x="2832" y="2809"/>
                  <a:pt x="2859" y="2763"/>
                  <a:pt x="2911" y="2724"/>
                </a:cubicBezTo>
                <a:cubicBezTo>
                  <a:pt x="2944" y="2698"/>
                  <a:pt x="3006" y="2658"/>
                  <a:pt x="3098" y="2606"/>
                </a:cubicBezTo>
                <a:cubicBezTo>
                  <a:pt x="3268" y="2501"/>
                  <a:pt x="3390" y="2409"/>
                  <a:pt x="3462" y="2330"/>
                </a:cubicBezTo>
                <a:cubicBezTo>
                  <a:pt x="3586" y="2193"/>
                  <a:pt x="3649" y="2019"/>
                  <a:pt x="3649" y="1809"/>
                </a:cubicBezTo>
                <a:cubicBezTo>
                  <a:pt x="3649" y="1626"/>
                  <a:pt x="3593" y="1457"/>
                  <a:pt x="3481" y="1303"/>
                </a:cubicBezTo>
                <a:cubicBezTo>
                  <a:pt x="3370" y="1149"/>
                  <a:pt x="3226" y="1028"/>
                  <a:pt x="3049" y="939"/>
                </a:cubicBezTo>
                <a:cubicBezTo>
                  <a:pt x="2872" y="850"/>
                  <a:pt x="2691" y="806"/>
                  <a:pt x="2508" y="806"/>
                </a:cubicBezTo>
                <a:cubicBezTo>
                  <a:pt x="2246" y="806"/>
                  <a:pt x="2020" y="862"/>
                  <a:pt x="1829" y="973"/>
                </a:cubicBezTo>
                <a:close/>
                <a:moveTo>
                  <a:pt x="2119" y="3378"/>
                </a:moveTo>
                <a:cubicBezTo>
                  <a:pt x="2031" y="3466"/>
                  <a:pt x="1987" y="3573"/>
                  <a:pt x="1987" y="3697"/>
                </a:cubicBezTo>
                <a:cubicBezTo>
                  <a:pt x="1987" y="3822"/>
                  <a:pt x="2031" y="3928"/>
                  <a:pt x="2119" y="4017"/>
                </a:cubicBezTo>
                <a:cubicBezTo>
                  <a:pt x="2208" y="4105"/>
                  <a:pt x="2315" y="4150"/>
                  <a:pt x="2439" y="4150"/>
                </a:cubicBezTo>
                <a:cubicBezTo>
                  <a:pt x="2564" y="4150"/>
                  <a:pt x="2670" y="4105"/>
                  <a:pt x="2759" y="4017"/>
                </a:cubicBezTo>
                <a:cubicBezTo>
                  <a:pt x="2847" y="3928"/>
                  <a:pt x="2891" y="3822"/>
                  <a:pt x="2891" y="3697"/>
                </a:cubicBezTo>
                <a:cubicBezTo>
                  <a:pt x="2891" y="3573"/>
                  <a:pt x="2847" y="3466"/>
                  <a:pt x="2759" y="3378"/>
                </a:cubicBezTo>
                <a:cubicBezTo>
                  <a:pt x="2670" y="3289"/>
                  <a:pt x="2564" y="3245"/>
                  <a:pt x="2439" y="3245"/>
                </a:cubicBezTo>
                <a:cubicBezTo>
                  <a:pt x="2315" y="3245"/>
                  <a:pt x="2208" y="3289"/>
                  <a:pt x="2119" y="337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Plus">
            <a:extLst>
              <a:ext uri="{FF2B5EF4-FFF2-40B4-BE49-F238E27FC236}">
                <a16:creationId xmlns:a16="http://schemas.microsoft.com/office/drawing/2014/main" id="{0F7762DE-E9BF-6A04-D8F1-E74CB7481644}"/>
              </a:ext>
            </a:extLst>
          </p:cNvPr>
          <p:cNvSpPr>
            <a:spLocks/>
          </p:cNvSpPr>
          <p:nvPr/>
        </p:nvSpPr>
        <p:spPr bwMode="auto">
          <a:xfrm>
            <a:off x="1744444" y="4865463"/>
            <a:ext cx="554672" cy="554672"/>
          </a:xfrm>
          <a:custGeom>
            <a:avLst/>
            <a:gdLst>
              <a:gd name="T0" fmla="*/ 2439 w 4878"/>
              <a:gd name="T1" fmla="*/ 0 h 4877"/>
              <a:gd name="T2" fmla="*/ 3658 w 4878"/>
              <a:gd name="T3" fmla="*/ 329 h 4877"/>
              <a:gd name="T4" fmla="*/ 4548 w 4878"/>
              <a:gd name="T5" fmla="*/ 1219 h 4877"/>
              <a:gd name="T6" fmla="*/ 4878 w 4878"/>
              <a:gd name="T7" fmla="*/ 2439 h 4877"/>
              <a:gd name="T8" fmla="*/ 4548 w 4878"/>
              <a:gd name="T9" fmla="*/ 3658 h 4877"/>
              <a:gd name="T10" fmla="*/ 3658 w 4878"/>
              <a:gd name="T11" fmla="*/ 4548 h 4877"/>
              <a:gd name="T12" fmla="*/ 2439 w 4878"/>
              <a:gd name="T13" fmla="*/ 4877 h 4877"/>
              <a:gd name="T14" fmla="*/ 1219 w 4878"/>
              <a:gd name="T15" fmla="*/ 4548 h 4877"/>
              <a:gd name="T16" fmla="*/ 329 w 4878"/>
              <a:gd name="T17" fmla="*/ 3658 h 4877"/>
              <a:gd name="T18" fmla="*/ 0 w 4878"/>
              <a:gd name="T19" fmla="*/ 2439 h 4877"/>
              <a:gd name="T20" fmla="*/ 329 w 4878"/>
              <a:gd name="T21" fmla="*/ 1219 h 4877"/>
              <a:gd name="T22" fmla="*/ 1219 w 4878"/>
              <a:gd name="T23" fmla="*/ 329 h 4877"/>
              <a:gd name="T24" fmla="*/ 2439 w 4878"/>
              <a:gd name="T25" fmla="*/ 0 h 4877"/>
              <a:gd name="T26" fmla="*/ 3855 w 4878"/>
              <a:gd name="T27" fmla="*/ 2714 h 4877"/>
              <a:gd name="T28" fmla="*/ 3855 w 4878"/>
              <a:gd name="T29" fmla="*/ 2163 h 4877"/>
              <a:gd name="T30" fmla="*/ 3820 w 4878"/>
              <a:gd name="T31" fmla="*/ 2080 h 4877"/>
              <a:gd name="T32" fmla="*/ 3737 w 4878"/>
              <a:gd name="T33" fmla="*/ 2045 h 4877"/>
              <a:gd name="T34" fmla="*/ 2832 w 4878"/>
              <a:gd name="T35" fmla="*/ 2045 h 4877"/>
              <a:gd name="T36" fmla="*/ 2832 w 4878"/>
              <a:gd name="T37" fmla="*/ 1141 h 4877"/>
              <a:gd name="T38" fmla="*/ 2798 w 4878"/>
              <a:gd name="T39" fmla="*/ 1057 h 4877"/>
              <a:gd name="T40" fmla="*/ 2714 w 4878"/>
              <a:gd name="T41" fmla="*/ 1023 h 4877"/>
              <a:gd name="T42" fmla="*/ 2163 w 4878"/>
              <a:gd name="T43" fmla="*/ 1023 h 4877"/>
              <a:gd name="T44" fmla="*/ 2080 w 4878"/>
              <a:gd name="T45" fmla="*/ 1057 h 4877"/>
              <a:gd name="T46" fmla="*/ 2045 w 4878"/>
              <a:gd name="T47" fmla="*/ 1141 h 4877"/>
              <a:gd name="T48" fmla="*/ 2045 w 4878"/>
              <a:gd name="T49" fmla="*/ 2045 h 4877"/>
              <a:gd name="T50" fmla="*/ 1141 w 4878"/>
              <a:gd name="T51" fmla="*/ 2045 h 4877"/>
              <a:gd name="T52" fmla="*/ 1057 w 4878"/>
              <a:gd name="T53" fmla="*/ 2080 h 4877"/>
              <a:gd name="T54" fmla="*/ 1023 w 4878"/>
              <a:gd name="T55" fmla="*/ 2163 h 4877"/>
              <a:gd name="T56" fmla="*/ 1023 w 4878"/>
              <a:gd name="T57" fmla="*/ 2714 h 4877"/>
              <a:gd name="T58" fmla="*/ 1057 w 4878"/>
              <a:gd name="T59" fmla="*/ 2798 h 4877"/>
              <a:gd name="T60" fmla="*/ 1141 w 4878"/>
              <a:gd name="T61" fmla="*/ 2832 h 4877"/>
              <a:gd name="T62" fmla="*/ 2045 w 4878"/>
              <a:gd name="T63" fmla="*/ 2832 h 4877"/>
              <a:gd name="T64" fmla="*/ 2045 w 4878"/>
              <a:gd name="T65" fmla="*/ 3737 h 4877"/>
              <a:gd name="T66" fmla="*/ 2080 w 4878"/>
              <a:gd name="T67" fmla="*/ 3820 h 4877"/>
              <a:gd name="T68" fmla="*/ 2163 w 4878"/>
              <a:gd name="T69" fmla="*/ 3855 h 4877"/>
              <a:gd name="T70" fmla="*/ 2714 w 4878"/>
              <a:gd name="T71" fmla="*/ 3855 h 4877"/>
              <a:gd name="T72" fmla="*/ 2798 w 4878"/>
              <a:gd name="T73" fmla="*/ 3820 h 4877"/>
              <a:gd name="T74" fmla="*/ 2832 w 4878"/>
              <a:gd name="T75" fmla="*/ 3737 h 4877"/>
              <a:gd name="T76" fmla="*/ 2832 w 4878"/>
              <a:gd name="T77" fmla="*/ 2832 h 4877"/>
              <a:gd name="T78" fmla="*/ 3737 w 4878"/>
              <a:gd name="T79" fmla="*/ 2832 h 4877"/>
              <a:gd name="T80" fmla="*/ 3820 w 4878"/>
              <a:gd name="T81" fmla="*/ 2798 h 4877"/>
              <a:gd name="T82" fmla="*/ 3855 w 4878"/>
              <a:gd name="T83" fmla="*/ 2714 h 4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4878" h="4877">
                <a:moveTo>
                  <a:pt x="2439" y="0"/>
                </a:moveTo>
                <a:cubicBezTo>
                  <a:pt x="2878" y="0"/>
                  <a:pt x="3284" y="110"/>
                  <a:pt x="3658" y="329"/>
                </a:cubicBezTo>
                <a:cubicBezTo>
                  <a:pt x="4032" y="549"/>
                  <a:pt x="4329" y="846"/>
                  <a:pt x="4548" y="1219"/>
                </a:cubicBezTo>
                <a:cubicBezTo>
                  <a:pt x="4768" y="1593"/>
                  <a:pt x="4878" y="1999"/>
                  <a:pt x="4878" y="2439"/>
                </a:cubicBezTo>
                <a:cubicBezTo>
                  <a:pt x="4878" y="2878"/>
                  <a:pt x="4768" y="3284"/>
                  <a:pt x="4548" y="3658"/>
                </a:cubicBezTo>
                <a:cubicBezTo>
                  <a:pt x="4329" y="4032"/>
                  <a:pt x="4032" y="4328"/>
                  <a:pt x="3658" y="4548"/>
                </a:cubicBezTo>
                <a:cubicBezTo>
                  <a:pt x="3284" y="4768"/>
                  <a:pt x="2878" y="4877"/>
                  <a:pt x="2439" y="4877"/>
                </a:cubicBezTo>
                <a:cubicBezTo>
                  <a:pt x="2000" y="4877"/>
                  <a:pt x="1593" y="4768"/>
                  <a:pt x="1219" y="4548"/>
                </a:cubicBezTo>
                <a:cubicBezTo>
                  <a:pt x="846" y="4328"/>
                  <a:pt x="549" y="4032"/>
                  <a:pt x="329" y="3658"/>
                </a:cubicBezTo>
                <a:cubicBezTo>
                  <a:pt x="110" y="3284"/>
                  <a:pt x="0" y="2878"/>
                  <a:pt x="0" y="2439"/>
                </a:cubicBezTo>
                <a:cubicBezTo>
                  <a:pt x="0" y="1999"/>
                  <a:pt x="110" y="1593"/>
                  <a:pt x="329" y="1219"/>
                </a:cubicBezTo>
                <a:cubicBezTo>
                  <a:pt x="549" y="846"/>
                  <a:pt x="846" y="549"/>
                  <a:pt x="1219" y="329"/>
                </a:cubicBezTo>
                <a:cubicBezTo>
                  <a:pt x="1593" y="110"/>
                  <a:pt x="2000" y="0"/>
                  <a:pt x="2439" y="0"/>
                </a:cubicBezTo>
                <a:close/>
                <a:moveTo>
                  <a:pt x="3855" y="2714"/>
                </a:moveTo>
                <a:cubicBezTo>
                  <a:pt x="3855" y="2163"/>
                  <a:pt x="3855" y="2163"/>
                  <a:pt x="3855" y="2163"/>
                </a:cubicBezTo>
                <a:cubicBezTo>
                  <a:pt x="3855" y="2131"/>
                  <a:pt x="3843" y="2103"/>
                  <a:pt x="3820" y="2080"/>
                </a:cubicBezTo>
                <a:cubicBezTo>
                  <a:pt x="3797" y="2057"/>
                  <a:pt x="3770" y="2045"/>
                  <a:pt x="3737" y="2045"/>
                </a:cubicBezTo>
                <a:cubicBezTo>
                  <a:pt x="2832" y="2045"/>
                  <a:pt x="2832" y="2045"/>
                  <a:pt x="2832" y="2045"/>
                </a:cubicBezTo>
                <a:cubicBezTo>
                  <a:pt x="2832" y="1141"/>
                  <a:pt x="2832" y="1141"/>
                  <a:pt x="2832" y="1141"/>
                </a:cubicBezTo>
                <a:cubicBezTo>
                  <a:pt x="2832" y="1108"/>
                  <a:pt x="2821" y="1080"/>
                  <a:pt x="2798" y="1057"/>
                </a:cubicBezTo>
                <a:cubicBezTo>
                  <a:pt x="2775" y="1034"/>
                  <a:pt x="2747" y="1023"/>
                  <a:pt x="2714" y="1023"/>
                </a:cubicBezTo>
                <a:cubicBezTo>
                  <a:pt x="2163" y="1023"/>
                  <a:pt x="2163" y="1023"/>
                  <a:pt x="2163" y="1023"/>
                </a:cubicBezTo>
                <a:cubicBezTo>
                  <a:pt x="2131" y="1023"/>
                  <a:pt x="2103" y="1034"/>
                  <a:pt x="2080" y="1057"/>
                </a:cubicBezTo>
                <a:cubicBezTo>
                  <a:pt x="2057" y="1080"/>
                  <a:pt x="2045" y="1108"/>
                  <a:pt x="2045" y="1141"/>
                </a:cubicBezTo>
                <a:cubicBezTo>
                  <a:pt x="2045" y="2045"/>
                  <a:pt x="2045" y="2045"/>
                  <a:pt x="2045" y="2045"/>
                </a:cubicBezTo>
                <a:cubicBezTo>
                  <a:pt x="1141" y="2045"/>
                  <a:pt x="1141" y="2045"/>
                  <a:pt x="1141" y="2045"/>
                </a:cubicBezTo>
                <a:cubicBezTo>
                  <a:pt x="1108" y="2045"/>
                  <a:pt x="1080" y="2057"/>
                  <a:pt x="1057" y="2080"/>
                </a:cubicBezTo>
                <a:cubicBezTo>
                  <a:pt x="1034" y="2103"/>
                  <a:pt x="1023" y="2131"/>
                  <a:pt x="1023" y="2163"/>
                </a:cubicBezTo>
                <a:cubicBezTo>
                  <a:pt x="1023" y="2714"/>
                  <a:pt x="1023" y="2714"/>
                  <a:pt x="1023" y="2714"/>
                </a:cubicBezTo>
                <a:cubicBezTo>
                  <a:pt x="1023" y="2747"/>
                  <a:pt x="1034" y="2775"/>
                  <a:pt x="1057" y="2798"/>
                </a:cubicBezTo>
                <a:cubicBezTo>
                  <a:pt x="1080" y="2821"/>
                  <a:pt x="1108" y="2832"/>
                  <a:pt x="1141" y="2832"/>
                </a:cubicBezTo>
                <a:cubicBezTo>
                  <a:pt x="2045" y="2832"/>
                  <a:pt x="2045" y="2832"/>
                  <a:pt x="2045" y="2832"/>
                </a:cubicBezTo>
                <a:cubicBezTo>
                  <a:pt x="2045" y="3737"/>
                  <a:pt x="2045" y="3737"/>
                  <a:pt x="2045" y="3737"/>
                </a:cubicBezTo>
                <a:cubicBezTo>
                  <a:pt x="2045" y="3769"/>
                  <a:pt x="2057" y="3797"/>
                  <a:pt x="2080" y="3820"/>
                </a:cubicBezTo>
                <a:cubicBezTo>
                  <a:pt x="2103" y="3843"/>
                  <a:pt x="2131" y="3855"/>
                  <a:pt x="2163" y="3855"/>
                </a:cubicBezTo>
                <a:cubicBezTo>
                  <a:pt x="2714" y="3855"/>
                  <a:pt x="2714" y="3855"/>
                  <a:pt x="2714" y="3855"/>
                </a:cubicBezTo>
                <a:cubicBezTo>
                  <a:pt x="2747" y="3855"/>
                  <a:pt x="2775" y="3843"/>
                  <a:pt x="2798" y="3820"/>
                </a:cubicBezTo>
                <a:cubicBezTo>
                  <a:pt x="2821" y="3797"/>
                  <a:pt x="2832" y="3769"/>
                  <a:pt x="2832" y="3737"/>
                </a:cubicBezTo>
                <a:cubicBezTo>
                  <a:pt x="2832" y="2832"/>
                  <a:pt x="2832" y="2832"/>
                  <a:pt x="2832" y="2832"/>
                </a:cubicBezTo>
                <a:cubicBezTo>
                  <a:pt x="3737" y="2832"/>
                  <a:pt x="3737" y="2832"/>
                  <a:pt x="3737" y="2832"/>
                </a:cubicBezTo>
                <a:cubicBezTo>
                  <a:pt x="3770" y="2832"/>
                  <a:pt x="3797" y="2821"/>
                  <a:pt x="3820" y="2798"/>
                </a:cubicBezTo>
                <a:cubicBezTo>
                  <a:pt x="3843" y="2775"/>
                  <a:pt x="3855" y="2747"/>
                  <a:pt x="3855" y="271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ausrufezeichen">
            <a:extLst>
              <a:ext uri="{FF2B5EF4-FFF2-40B4-BE49-F238E27FC236}">
                <a16:creationId xmlns:a16="http://schemas.microsoft.com/office/drawing/2014/main" id="{A253B47E-4E9E-1F5A-C4C7-7CD1CFD4D7E9}"/>
              </a:ext>
            </a:extLst>
          </p:cNvPr>
          <p:cNvSpPr>
            <a:spLocks/>
          </p:cNvSpPr>
          <p:nvPr/>
        </p:nvSpPr>
        <p:spPr bwMode="auto">
          <a:xfrm>
            <a:off x="3732460" y="4865463"/>
            <a:ext cx="554672" cy="554672"/>
          </a:xfrm>
          <a:custGeom>
            <a:avLst/>
            <a:gdLst>
              <a:gd name="T0" fmla="*/ 4548 w 4878"/>
              <a:gd name="T1" fmla="*/ 3658 h 4877"/>
              <a:gd name="T2" fmla="*/ 3658 w 4878"/>
              <a:gd name="T3" fmla="*/ 4548 h 4877"/>
              <a:gd name="T4" fmla="*/ 2439 w 4878"/>
              <a:gd name="T5" fmla="*/ 4877 h 4877"/>
              <a:gd name="T6" fmla="*/ 1219 w 4878"/>
              <a:gd name="T7" fmla="*/ 4548 h 4877"/>
              <a:gd name="T8" fmla="*/ 329 w 4878"/>
              <a:gd name="T9" fmla="*/ 3658 h 4877"/>
              <a:gd name="T10" fmla="*/ 0 w 4878"/>
              <a:gd name="T11" fmla="*/ 2438 h 4877"/>
              <a:gd name="T12" fmla="*/ 329 w 4878"/>
              <a:gd name="T13" fmla="*/ 1219 h 4877"/>
              <a:gd name="T14" fmla="*/ 1219 w 4878"/>
              <a:gd name="T15" fmla="*/ 329 h 4877"/>
              <a:gd name="T16" fmla="*/ 2439 w 4878"/>
              <a:gd name="T17" fmla="*/ 0 h 4877"/>
              <a:gd name="T18" fmla="*/ 3658 w 4878"/>
              <a:gd name="T19" fmla="*/ 329 h 4877"/>
              <a:gd name="T20" fmla="*/ 4548 w 4878"/>
              <a:gd name="T21" fmla="*/ 1219 h 4877"/>
              <a:gd name="T22" fmla="*/ 4878 w 4878"/>
              <a:gd name="T23" fmla="*/ 2438 h 4877"/>
              <a:gd name="T24" fmla="*/ 4548 w 4878"/>
              <a:gd name="T25" fmla="*/ 3658 h 4877"/>
              <a:gd name="T26" fmla="*/ 2119 w 4878"/>
              <a:gd name="T27" fmla="*/ 3063 h 4877"/>
              <a:gd name="T28" fmla="*/ 1986 w 4878"/>
              <a:gd name="T29" fmla="*/ 3382 h 4877"/>
              <a:gd name="T30" fmla="*/ 2119 w 4878"/>
              <a:gd name="T31" fmla="*/ 3702 h 4877"/>
              <a:gd name="T32" fmla="*/ 2439 w 4878"/>
              <a:gd name="T33" fmla="*/ 3835 h 4877"/>
              <a:gd name="T34" fmla="*/ 2758 w 4878"/>
              <a:gd name="T35" fmla="*/ 3702 h 4877"/>
              <a:gd name="T36" fmla="*/ 2891 w 4878"/>
              <a:gd name="T37" fmla="*/ 3382 h 4877"/>
              <a:gd name="T38" fmla="*/ 2758 w 4878"/>
              <a:gd name="T39" fmla="*/ 3063 h 4877"/>
              <a:gd name="T40" fmla="*/ 2439 w 4878"/>
              <a:gd name="T41" fmla="*/ 2930 h 4877"/>
              <a:gd name="T42" fmla="*/ 2119 w 4878"/>
              <a:gd name="T43" fmla="*/ 3063 h 4877"/>
              <a:gd name="T44" fmla="*/ 2085 w 4878"/>
              <a:gd name="T45" fmla="*/ 2645 h 4877"/>
              <a:gd name="T46" fmla="*/ 2119 w 4878"/>
              <a:gd name="T47" fmla="*/ 2719 h 4877"/>
              <a:gd name="T48" fmla="*/ 2203 w 4878"/>
              <a:gd name="T49" fmla="*/ 2753 h 4877"/>
              <a:gd name="T50" fmla="*/ 2675 w 4878"/>
              <a:gd name="T51" fmla="*/ 2753 h 4877"/>
              <a:gd name="T52" fmla="*/ 2758 w 4878"/>
              <a:gd name="T53" fmla="*/ 2719 h 4877"/>
              <a:gd name="T54" fmla="*/ 2793 w 4878"/>
              <a:gd name="T55" fmla="*/ 2645 h 4877"/>
              <a:gd name="T56" fmla="*/ 2871 w 4878"/>
              <a:gd name="T57" fmla="*/ 1307 h 4877"/>
              <a:gd name="T58" fmla="*/ 2837 w 4878"/>
              <a:gd name="T59" fmla="*/ 1214 h 4877"/>
              <a:gd name="T60" fmla="*/ 2753 w 4878"/>
              <a:gd name="T61" fmla="*/ 1180 h 4877"/>
              <a:gd name="T62" fmla="*/ 2124 w 4878"/>
              <a:gd name="T63" fmla="*/ 1180 h 4877"/>
              <a:gd name="T64" fmla="*/ 2041 w 4878"/>
              <a:gd name="T65" fmla="*/ 1214 h 4877"/>
              <a:gd name="T66" fmla="*/ 2006 w 4878"/>
              <a:gd name="T67" fmla="*/ 1307 h 4877"/>
              <a:gd name="T68" fmla="*/ 2085 w 4878"/>
              <a:gd name="T69" fmla="*/ 2645 h 48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878" h="4877">
                <a:moveTo>
                  <a:pt x="4548" y="3658"/>
                </a:moveTo>
                <a:cubicBezTo>
                  <a:pt x="4329" y="4031"/>
                  <a:pt x="4032" y="4328"/>
                  <a:pt x="3658" y="4548"/>
                </a:cubicBezTo>
                <a:cubicBezTo>
                  <a:pt x="3284" y="4767"/>
                  <a:pt x="2878" y="4877"/>
                  <a:pt x="2439" y="4877"/>
                </a:cubicBezTo>
                <a:cubicBezTo>
                  <a:pt x="2000" y="4877"/>
                  <a:pt x="1593" y="4767"/>
                  <a:pt x="1219" y="4548"/>
                </a:cubicBezTo>
                <a:cubicBezTo>
                  <a:pt x="846" y="4328"/>
                  <a:pt x="549" y="4031"/>
                  <a:pt x="329" y="3658"/>
                </a:cubicBezTo>
                <a:cubicBezTo>
                  <a:pt x="110" y="3284"/>
                  <a:pt x="0" y="2878"/>
                  <a:pt x="0" y="2438"/>
                </a:cubicBezTo>
                <a:cubicBezTo>
                  <a:pt x="0" y="1999"/>
                  <a:pt x="110" y="1593"/>
                  <a:pt x="329" y="1219"/>
                </a:cubicBezTo>
                <a:cubicBezTo>
                  <a:pt x="549" y="845"/>
                  <a:pt x="846" y="549"/>
                  <a:pt x="1219" y="329"/>
                </a:cubicBezTo>
                <a:cubicBezTo>
                  <a:pt x="1593" y="109"/>
                  <a:pt x="2000" y="0"/>
                  <a:pt x="2439" y="0"/>
                </a:cubicBezTo>
                <a:cubicBezTo>
                  <a:pt x="2878" y="0"/>
                  <a:pt x="3284" y="109"/>
                  <a:pt x="3658" y="329"/>
                </a:cubicBezTo>
                <a:cubicBezTo>
                  <a:pt x="4032" y="549"/>
                  <a:pt x="4329" y="845"/>
                  <a:pt x="4548" y="1219"/>
                </a:cubicBezTo>
                <a:cubicBezTo>
                  <a:pt x="4768" y="1593"/>
                  <a:pt x="4878" y="1999"/>
                  <a:pt x="4878" y="2438"/>
                </a:cubicBezTo>
                <a:cubicBezTo>
                  <a:pt x="4878" y="2878"/>
                  <a:pt x="4768" y="3284"/>
                  <a:pt x="4548" y="3658"/>
                </a:cubicBezTo>
                <a:close/>
                <a:moveTo>
                  <a:pt x="2119" y="3063"/>
                </a:moveTo>
                <a:cubicBezTo>
                  <a:pt x="2031" y="3151"/>
                  <a:pt x="1986" y="3258"/>
                  <a:pt x="1986" y="3382"/>
                </a:cubicBezTo>
                <a:cubicBezTo>
                  <a:pt x="1986" y="3507"/>
                  <a:pt x="2031" y="3613"/>
                  <a:pt x="2119" y="3702"/>
                </a:cubicBezTo>
                <a:cubicBezTo>
                  <a:pt x="2208" y="3790"/>
                  <a:pt x="2314" y="3835"/>
                  <a:pt x="2439" y="3835"/>
                </a:cubicBezTo>
                <a:cubicBezTo>
                  <a:pt x="2563" y="3835"/>
                  <a:pt x="2670" y="3790"/>
                  <a:pt x="2758" y="3702"/>
                </a:cubicBezTo>
                <a:cubicBezTo>
                  <a:pt x="2847" y="3613"/>
                  <a:pt x="2891" y="3507"/>
                  <a:pt x="2891" y="3382"/>
                </a:cubicBezTo>
                <a:cubicBezTo>
                  <a:pt x="2891" y="3258"/>
                  <a:pt x="2847" y="3151"/>
                  <a:pt x="2758" y="3063"/>
                </a:cubicBezTo>
                <a:cubicBezTo>
                  <a:pt x="2670" y="2974"/>
                  <a:pt x="2563" y="2930"/>
                  <a:pt x="2439" y="2930"/>
                </a:cubicBezTo>
                <a:cubicBezTo>
                  <a:pt x="2314" y="2930"/>
                  <a:pt x="2208" y="2974"/>
                  <a:pt x="2119" y="3063"/>
                </a:cubicBezTo>
                <a:close/>
                <a:moveTo>
                  <a:pt x="2085" y="2645"/>
                </a:moveTo>
                <a:cubicBezTo>
                  <a:pt x="2085" y="2671"/>
                  <a:pt x="2096" y="2696"/>
                  <a:pt x="2119" y="2719"/>
                </a:cubicBezTo>
                <a:cubicBezTo>
                  <a:pt x="2142" y="2742"/>
                  <a:pt x="2170" y="2753"/>
                  <a:pt x="2203" y="2753"/>
                </a:cubicBezTo>
                <a:cubicBezTo>
                  <a:pt x="2675" y="2753"/>
                  <a:pt x="2675" y="2753"/>
                  <a:pt x="2675" y="2753"/>
                </a:cubicBezTo>
                <a:cubicBezTo>
                  <a:pt x="2708" y="2753"/>
                  <a:pt x="2735" y="2742"/>
                  <a:pt x="2758" y="2719"/>
                </a:cubicBezTo>
                <a:cubicBezTo>
                  <a:pt x="2781" y="2696"/>
                  <a:pt x="2793" y="2671"/>
                  <a:pt x="2793" y="2645"/>
                </a:cubicBezTo>
                <a:cubicBezTo>
                  <a:pt x="2871" y="1307"/>
                  <a:pt x="2871" y="1307"/>
                  <a:pt x="2871" y="1307"/>
                </a:cubicBezTo>
                <a:cubicBezTo>
                  <a:pt x="2871" y="1268"/>
                  <a:pt x="2860" y="1237"/>
                  <a:pt x="2837" y="1214"/>
                </a:cubicBezTo>
                <a:cubicBezTo>
                  <a:pt x="2814" y="1191"/>
                  <a:pt x="2786" y="1180"/>
                  <a:pt x="2753" y="1180"/>
                </a:cubicBezTo>
                <a:cubicBezTo>
                  <a:pt x="2124" y="1180"/>
                  <a:pt x="2124" y="1180"/>
                  <a:pt x="2124" y="1180"/>
                </a:cubicBezTo>
                <a:cubicBezTo>
                  <a:pt x="2091" y="1180"/>
                  <a:pt x="2063" y="1191"/>
                  <a:pt x="2041" y="1214"/>
                </a:cubicBezTo>
                <a:cubicBezTo>
                  <a:pt x="2018" y="1237"/>
                  <a:pt x="2006" y="1268"/>
                  <a:pt x="2006" y="1307"/>
                </a:cubicBezTo>
                <a:lnTo>
                  <a:pt x="2085" y="264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pfeil, arrow">
            <a:extLst>
              <a:ext uri="{FF2B5EF4-FFF2-40B4-BE49-F238E27FC236}">
                <a16:creationId xmlns:a16="http://schemas.microsoft.com/office/drawing/2014/main" id="{1218D758-0E55-33C9-EED0-02330DB4208E}"/>
              </a:ext>
            </a:extLst>
          </p:cNvPr>
          <p:cNvSpPr>
            <a:spLocks/>
          </p:cNvSpPr>
          <p:nvPr/>
        </p:nvSpPr>
        <p:spPr bwMode="auto">
          <a:xfrm rot="2700000">
            <a:off x="4395132" y="4865463"/>
            <a:ext cx="554672" cy="554672"/>
          </a:xfrm>
          <a:custGeom>
            <a:avLst/>
            <a:gdLst>
              <a:gd name="T0" fmla="*/ 319 w 4728"/>
              <a:gd name="T1" fmla="*/ 1183 h 4729"/>
              <a:gd name="T2" fmla="*/ 1182 w 4728"/>
              <a:gd name="T3" fmla="*/ 320 h 4729"/>
              <a:gd name="T4" fmla="*/ 2364 w 4728"/>
              <a:gd name="T5" fmla="*/ 0 h 4729"/>
              <a:gd name="T6" fmla="*/ 3546 w 4728"/>
              <a:gd name="T7" fmla="*/ 320 h 4729"/>
              <a:gd name="T8" fmla="*/ 4409 w 4728"/>
              <a:gd name="T9" fmla="*/ 1182 h 4729"/>
              <a:gd name="T10" fmla="*/ 4728 w 4728"/>
              <a:gd name="T11" fmla="*/ 2365 h 4729"/>
              <a:gd name="T12" fmla="*/ 4409 w 4728"/>
              <a:gd name="T13" fmla="*/ 3547 h 4729"/>
              <a:gd name="T14" fmla="*/ 3546 w 4728"/>
              <a:gd name="T15" fmla="*/ 4409 h 4729"/>
              <a:gd name="T16" fmla="*/ 2364 w 4728"/>
              <a:gd name="T17" fmla="*/ 4729 h 4729"/>
              <a:gd name="T18" fmla="*/ 1182 w 4728"/>
              <a:gd name="T19" fmla="*/ 4410 h 4729"/>
              <a:gd name="T20" fmla="*/ 319 w 4728"/>
              <a:gd name="T21" fmla="*/ 3547 h 4729"/>
              <a:gd name="T22" fmla="*/ 0 w 4728"/>
              <a:gd name="T23" fmla="*/ 2365 h 4729"/>
              <a:gd name="T24" fmla="*/ 319 w 4728"/>
              <a:gd name="T25" fmla="*/ 1183 h 4729"/>
              <a:gd name="T26" fmla="*/ 2059 w 4728"/>
              <a:gd name="T27" fmla="*/ 1917 h 4729"/>
              <a:gd name="T28" fmla="*/ 2059 w 4728"/>
              <a:gd name="T29" fmla="*/ 3661 h 4729"/>
              <a:gd name="T30" fmla="*/ 2126 w 4728"/>
              <a:gd name="T31" fmla="*/ 3823 h 4729"/>
              <a:gd name="T32" fmla="*/ 2288 w 4728"/>
              <a:gd name="T33" fmla="*/ 3890 h 4729"/>
              <a:gd name="T34" fmla="*/ 2440 w 4728"/>
              <a:gd name="T35" fmla="*/ 3890 h 4729"/>
              <a:gd name="T36" fmla="*/ 2602 w 4728"/>
              <a:gd name="T37" fmla="*/ 3823 h 4729"/>
              <a:gd name="T38" fmla="*/ 2669 w 4728"/>
              <a:gd name="T39" fmla="*/ 3661 h 4729"/>
              <a:gd name="T40" fmla="*/ 2669 w 4728"/>
              <a:gd name="T41" fmla="*/ 1917 h 4729"/>
              <a:gd name="T42" fmla="*/ 3355 w 4728"/>
              <a:gd name="T43" fmla="*/ 2641 h 4729"/>
              <a:gd name="T44" fmla="*/ 3522 w 4728"/>
              <a:gd name="T45" fmla="*/ 2708 h 4729"/>
              <a:gd name="T46" fmla="*/ 3689 w 4728"/>
              <a:gd name="T47" fmla="*/ 2641 h 4729"/>
              <a:gd name="T48" fmla="*/ 3794 w 4728"/>
              <a:gd name="T49" fmla="*/ 2536 h 4729"/>
              <a:gd name="T50" fmla="*/ 3861 w 4728"/>
              <a:gd name="T51" fmla="*/ 2374 h 4729"/>
              <a:gd name="T52" fmla="*/ 3794 w 4728"/>
              <a:gd name="T53" fmla="*/ 2212 h 4729"/>
              <a:gd name="T54" fmla="*/ 2526 w 4728"/>
              <a:gd name="T55" fmla="*/ 954 h 4729"/>
              <a:gd name="T56" fmla="*/ 2364 w 4728"/>
              <a:gd name="T57" fmla="*/ 887 h 4729"/>
              <a:gd name="T58" fmla="*/ 2202 w 4728"/>
              <a:gd name="T59" fmla="*/ 954 h 4729"/>
              <a:gd name="T60" fmla="*/ 934 w 4728"/>
              <a:gd name="T61" fmla="*/ 2212 h 4729"/>
              <a:gd name="T62" fmla="*/ 867 w 4728"/>
              <a:gd name="T63" fmla="*/ 2374 h 4729"/>
              <a:gd name="T64" fmla="*/ 934 w 4728"/>
              <a:gd name="T65" fmla="*/ 2536 h 4729"/>
              <a:gd name="T66" fmla="*/ 1039 w 4728"/>
              <a:gd name="T67" fmla="*/ 2641 h 4729"/>
              <a:gd name="T68" fmla="*/ 1206 w 4728"/>
              <a:gd name="T69" fmla="*/ 2708 h 4729"/>
              <a:gd name="T70" fmla="*/ 1372 w 4728"/>
              <a:gd name="T71" fmla="*/ 2641 h 4729"/>
              <a:gd name="T72" fmla="*/ 2059 w 4728"/>
              <a:gd name="T73" fmla="*/ 1917 h 47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728" h="4729">
                <a:moveTo>
                  <a:pt x="319" y="1183"/>
                </a:moveTo>
                <a:cubicBezTo>
                  <a:pt x="532" y="820"/>
                  <a:pt x="819" y="533"/>
                  <a:pt x="1182" y="320"/>
                </a:cubicBezTo>
                <a:cubicBezTo>
                  <a:pt x="1544" y="107"/>
                  <a:pt x="1938" y="0"/>
                  <a:pt x="2364" y="0"/>
                </a:cubicBezTo>
                <a:cubicBezTo>
                  <a:pt x="2790" y="0"/>
                  <a:pt x="3184" y="107"/>
                  <a:pt x="3546" y="320"/>
                </a:cubicBezTo>
                <a:cubicBezTo>
                  <a:pt x="3908" y="533"/>
                  <a:pt x="4196" y="820"/>
                  <a:pt x="4409" y="1182"/>
                </a:cubicBezTo>
                <a:cubicBezTo>
                  <a:pt x="4622" y="1545"/>
                  <a:pt x="4728" y="1939"/>
                  <a:pt x="4728" y="2365"/>
                </a:cubicBezTo>
                <a:cubicBezTo>
                  <a:pt x="4728" y="2790"/>
                  <a:pt x="4622" y="3184"/>
                  <a:pt x="4409" y="3547"/>
                </a:cubicBezTo>
                <a:cubicBezTo>
                  <a:pt x="4196" y="3909"/>
                  <a:pt x="3908" y="4197"/>
                  <a:pt x="3546" y="4409"/>
                </a:cubicBezTo>
                <a:cubicBezTo>
                  <a:pt x="3184" y="4622"/>
                  <a:pt x="2790" y="4729"/>
                  <a:pt x="2364" y="4729"/>
                </a:cubicBezTo>
                <a:cubicBezTo>
                  <a:pt x="1938" y="4729"/>
                  <a:pt x="1544" y="4622"/>
                  <a:pt x="1182" y="4410"/>
                </a:cubicBezTo>
                <a:cubicBezTo>
                  <a:pt x="820" y="4197"/>
                  <a:pt x="532" y="3909"/>
                  <a:pt x="319" y="3547"/>
                </a:cubicBezTo>
                <a:cubicBezTo>
                  <a:pt x="106" y="3185"/>
                  <a:pt x="0" y="2791"/>
                  <a:pt x="0" y="2365"/>
                </a:cubicBezTo>
                <a:cubicBezTo>
                  <a:pt x="0" y="1939"/>
                  <a:pt x="106" y="1545"/>
                  <a:pt x="319" y="1183"/>
                </a:cubicBezTo>
                <a:close/>
                <a:moveTo>
                  <a:pt x="2059" y="1917"/>
                </a:moveTo>
                <a:cubicBezTo>
                  <a:pt x="2059" y="3661"/>
                  <a:pt x="2059" y="3661"/>
                  <a:pt x="2059" y="3661"/>
                </a:cubicBezTo>
                <a:cubicBezTo>
                  <a:pt x="2059" y="3725"/>
                  <a:pt x="2081" y="3779"/>
                  <a:pt x="2126" y="3823"/>
                </a:cubicBezTo>
                <a:cubicBezTo>
                  <a:pt x="2170" y="3868"/>
                  <a:pt x="2224" y="3890"/>
                  <a:pt x="2288" y="3890"/>
                </a:cubicBezTo>
                <a:cubicBezTo>
                  <a:pt x="2440" y="3890"/>
                  <a:pt x="2440" y="3890"/>
                  <a:pt x="2440" y="3890"/>
                </a:cubicBezTo>
                <a:cubicBezTo>
                  <a:pt x="2504" y="3890"/>
                  <a:pt x="2558" y="3868"/>
                  <a:pt x="2602" y="3823"/>
                </a:cubicBezTo>
                <a:cubicBezTo>
                  <a:pt x="2647" y="3779"/>
                  <a:pt x="2669" y="3725"/>
                  <a:pt x="2669" y="3661"/>
                </a:cubicBezTo>
                <a:cubicBezTo>
                  <a:pt x="2669" y="1917"/>
                  <a:pt x="2669" y="1917"/>
                  <a:pt x="2669" y="1917"/>
                </a:cubicBezTo>
                <a:cubicBezTo>
                  <a:pt x="3355" y="2641"/>
                  <a:pt x="3355" y="2641"/>
                  <a:pt x="3355" y="2641"/>
                </a:cubicBezTo>
                <a:cubicBezTo>
                  <a:pt x="3400" y="2686"/>
                  <a:pt x="3455" y="2708"/>
                  <a:pt x="3522" y="2708"/>
                </a:cubicBezTo>
                <a:cubicBezTo>
                  <a:pt x="3589" y="2708"/>
                  <a:pt x="3644" y="2686"/>
                  <a:pt x="3689" y="2641"/>
                </a:cubicBezTo>
                <a:cubicBezTo>
                  <a:pt x="3794" y="2536"/>
                  <a:pt x="3794" y="2536"/>
                  <a:pt x="3794" y="2536"/>
                </a:cubicBezTo>
                <a:cubicBezTo>
                  <a:pt x="3838" y="2492"/>
                  <a:pt x="3861" y="2438"/>
                  <a:pt x="3861" y="2374"/>
                </a:cubicBezTo>
                <a:cubicBezTo>
                  <a:pt x="3860" y="2311"/>
                  <a:pt x="3838" y="2257"/>
                  <a:pt x="3794" y="2212"/>
                </a:cubicBezTo>
                <a:cubicBezTo>
                  <a:pt x="2526" y="954"/>
                  <a:pt x="2526" y="954"/>
                  <a:pt x="2526" y="954"/>
                </a:cubicBezTo>
                <a:cubicBezTo>
                  <a:pt x="2481" y="909"/>
                  <a:pt x="2427" y="887"/>
                  <a:pt x="2364" y="887"/>
                </a:cubicBezTo>
                <a:cubicBezTo>
                  <a:pt x="2300" y="887"/>
                  <a:pt x="2246" y="909"/>
                  <a:pt x="2202" y="954"/>
                </a:cubicBezTo>
                <a:cubicBezTo>
                  <a:pt x="934" y="2212"/>
                  <a:pt x="934" y="2212"/>
                  <a:pt x="934" y="2212"/>
                </a:cubicBezTo>
                <a:cubicBezTo>
                  <a:pt x="889" y="2257"/>
                  <a:pt x="867" y="2311"/>
                  <a:pt x="867" y="2374"/>
                </a:cubicBezTo>
                <a:cubicBezTo>
                  <a:pt x="867" y="2438"/>
                  <a:pt x="889" y="2492"/>
                  <a:pt x="934" y="2536"/>
                </a:cubicBezTo>
                <a:cubicBezTo>
                  <a:pt x="1039" y="2641"/>
                  <a:pt x="1039" y="2641"/>
                  <a:pt x="1039" y="2641"/>
                </a:cubicBezTo>
                <a:cubicBezTo>
                  <a:pt x="1083" y="2686"/>
                  <a:pt x="1139" y="2708"/>
                  <a:pt x="1206" y="2708"/>
                </a:cubicBezTo>
                <a:cubicBezTo>
                  <a:pt x="1272" y="2708"/>
                  <a:pt x="1328" y="2686"/>
                  <a:pt x="1372" y="2641"/>
                </a:cubicBezTo>
                <a:lnTo>
                  <a:pt x="2059" y="191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pfeil, arrow">
            <a:extLst>
              <a:ext uri="{FF2B5EF4-FFF2-40B4-BE49-F238E27FC236}">
                <a16:creationId xmlns:a16="http://schemas.microsoft.com/office/drawing/2014/main" id="{0D238DD7-E3F4-5D4C-2AF6-801D09FAB92A}"/>
              </a:ext>
            </a:extLst>
          </p:cNvPr>
          <p:cNvSpPr>
            <a:spLocks/>
          </p:cNvSpPr>
          <p:nvPr/>
        </p:nvSpPr>
        <p:spPr bwMode="auto">
          <a:xfrm rot="18900000" flipH="1">
            <a:off x="5057804" y="4865463"/>
            <a:ext cx="554672" cy="554672"/>
          </a:xfrm>
          <a:custGeom>
            <a:avLst/>
            <a:gdLst>
              <a:gd name="T0" fmla="*/ 319 w 4728"/>
              <a:gd name="T1" fmla="*/ 1183 h 4729"/>
              <a:gd name="T2" fmla="*/ 1182 w 4728"/>
              <a:gd name="T3" fmla="*/ 320 h 4729"/>
              <a:gd name="T4" fmla="*/ 2364 w 4728"/>
              <a:gd name="T5" fmla="*/ 0 h 4729"/>
              <a:gd name="T6" fmla="*/ 3546 w 4728"/>
              <a:gd name="T7" fmla="*/ 320 h 4729"/>
              <a:gd name="T8" fmla="*/ 4409 w 4728"/>
              <a:gd name="T9" fmla="*/ 1182 h 4729"/>
              <a:gd name="T10" fmla="*/ 4728 w 4728"/>
              <a:gd name="T11" fmla="*/ 2365 h 4729"/>
              <a:gd name="T12" fmla="*/ 4409 w 4728"/>
              <a:gd name="T13" fmla="*/ 3547 h 4729"/>
              <a:gd name="T14" fmla="*/ 3546 w 4728"/>
              <a:gd name="T15" fmla="*/ 4409 h 4729"/>
              <a:gd name="T16" fmla="*/ 2364 w 4728"/>
              <a:gd name="T17" fmla="*/ 4729 h 4729"/>
              <a:gd name="T18" fmla="*/ 1182 w 4728"/>
              <a:gd name="T19" fmla="*/ 4410 h 4729"/>
              <a:gd name="T20" fmla="*/ 319 w 4728"/>
              <a:gd name="T21" fmla="*/ 3547 h 4729"/>
              <a:gd name="T22" fmla="*/ 0 w 4728"/>
              <a:gd name="T23" fmla="*/ 2365 h 4729"/>
              <a:gd name="T24" fmla="*/ 319 w 4728"/>
              <a:gd name="T25" fmla="*/ 1183 h 4729"/>
              <a:gd name="T26" fmla="*/ 2059 w 4728"/>
              <a:gd name="T27" fmla="*/ 1917 h 4729"/>
              <a:gd name="T28" fmla="*/ 2059 w 4728"/>
              <a:gd name="T29" fmla="*/ 3661 h 4729"/>
              <a:gd name="T30" fmla="*/ 2126 w 4728"/>
              <a:gd name="T31" fmla="*/ 3823 h 4729"/>
              <a:gd name="T32" fmla="*/ 2288 w 4728"/>
              <a:gd name="T33" fmla="*/ 3890 h 4729"/>
              <a:gd name="T34" fmla="*/ 2440 w 4728"/>
              <a:gd name="T35" fmla="*/ 3890 h 4729"/>
              <a:gd name="T36" fmla="*/ 2602 w 4728"/>
              <a:gd name="T37" fmla="*/ 3823 h 4729"/>
              <a:gd name="T38" fmla="*/ 2669 w 4728"/>
              <a:gd name="T39" fmla="*/ 3661 h 4729"/>
              <a:gd name="T40" fmla="*/ 2669 w 4728"/>
              <a:gd name="T41" fmla="*/ 1917 h 4729"/>
              <a:gd name="T42" fmla="*/ 3355 w 4728"/>
              <a:gd name="T43" fmla="*/ 2641 h 4729"/>
              <a:gd name="T44" fmla="*/ 3522 w 4728"/>
              <a:gd name="T45" fmla="*/ 2708 h 4729"/>
              <a:gd name="T46" fmla="*/ 3689 w 4728"/>
              <a:gd name="T47" fmla="*/ 2641 h 4729"/>
              <a:gd name="T48" fmla="*/ 3794 w 4728"/>
              <a:gd name="T49" fmla="*/ 2536 h 4729"/>
              <a:gd name="T50" fmla="*/ 3861 w 4728"/>
              <a:gd name="T51" fmla="*/ 2374 h 4729"/>
              <a:gd name="T52" fmla="*/ 3794 w 4728"/>
              <a:gd name="T53" fmla="*/ 2212 h 4729"/>
              <a:gd name="T54" fmla="*/ 2526 w 4728"/>
              <a:gd name="T55" fmla="*/ 954 h 4729"/>
              <a:gd name="T56" fmla="*/ 2364 w 4728"/>
              <a:gd name="T57" fmla="*/ 887 h 4729"/>
              <a:gd name="T58" fmla="*/ 2202 w 4728"/>
              <a:gd name="T59" fmla="*/ 954 h 4729"/>
              <a:gd name="T60" fmla="*/ 934 w 4728"/>
              <a:gd name="T61" fmla="*/ 2212 h 4729"/>
              <a:gd name="T62" fmla="*/ 867 w 4728"/>
              <a:gd name="T63" fmla="*/ 2374 h 4729"/>
              <a:gd name="T64" fmla="*/ 934 w 4728"/>
              <a:gd name="T65" fmla="*/ 2536 h 4729"/>
              <a:gd name="T66" fmla="*/ 1039 w 4728"/>
              <a:gd name="T67" fmla="*/ 2641 h 4729"/>
              <a:gd name="T68" fmla="*/ 1206 w 4728"/>
              <a:gd name="T69" fmla="*/ 2708 h 4729"/>
              <a:gd name="T70" fmla="*/ 1372 w 4728"/>
              <a:gd name="T71" fmla="*/ 2641 h 4729"/>
              <a:gd name="T72" fmla="*/ 2059 w 4728"/>
              <a:gd name="T73" fmla="*/ 1917 h 47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728" h="4729">
                <a:moveTo>
                  <a:pt x="319" y="1183"/>
                </a:moveTo>
                <a:cubicBezTo>
                  <a:pt x="532" y="820"/>
                  <a:pt x="819" y="533"/>
                  <a:pt x="1182" y="320"/>
                </a:cubicBezTo>
                <a:cubicBezTo>
                  <a:pt x="1544" y="107"/>
                  <a:pt x="1938" y="0"/>
                  <a:pt x="2364" y="0"/>
                </a:cubicBezTo>
                <a:cubicBezTo>
                  <a:pt x="2790" y="0"/>
                  <a:pt x="3184" y="107"/>
                  <a:pt x="3546" y="320"/>
                </a:cubicBezTo>
                <a:cubicBezTo>
                  <a:pt x="3908" y="533"/>
                  <a:pt x="4196" y="820"/>
                  <a:pt x="4409" y="1182"/>
                </a:cubicBezTo>
                <a:cubicBezTo>
                  <a:pt x="4622" y="1545"/>
                  <a:pt x="4728" y="1939"/>
                  <a:pt x="4728" y="2365"/>
                </a:cubicBezTo>
                <a:cubicBezTo>
                  <a:pt x="4728" y="2790"/>
                  <a:pt x="4622" y="3184"/>
                  <a:pt x="4409" y="3547"/>
                </a:cubicBezTo>
                <a:cubicBezTo>
                  <a:pt x="4196" y="3909"/>
                  <a:pt x="3908" y="4197"/>
                  <a:pt x="3546" y="4409"/>
                </a:cubicBezTo>
                <a:cubicBezTo>
                  <a:pt x="3184" y="4622"/>
                  <a:pt x="2790" y="4729"/>
                  <a:pt x="2364" y="4729"/>
                </a:cubicBezTo>
                <a:cubicBezTo>
                  <a:pt x="1938" y="4729"/>
                  <a:pt x="1544" y="4622"/>
                  <a:pt x="1182" y="4410"/>
                </a:cubicBezTo>
                <a:cubicBezTo>
                  <a:pt x="820" y="4197"/>
                  <a:pt x="532" y="3909"/>
                  <a:pt x="319" y="3547"/>
                </a:cubicBezTo>
                <a:cubicBezTo>
                  <a:pt x="106" y="3185"/>
                  <a:pt x="0" y="2791"/>
                  <a:pt x="0" y="2365"/>
                </a:cubicBezTo>
                <a:cubicBezTo>
                  <a:pt x="0" y="1939"/>
                  <a:pt x="106" y="1545"/>
                  <a:pt x="319" y="1183"/>
                </a:cubicBezTo>
                <a:close/>
                <a:moveTo>
                  <a:pt x="2059" y="1917"/>
                </a:moveTo>
                <a:cubicBezTo>
                  <a:pt x="2059" y="3661"/>
                  <a:pt x="2059" y="3661"/>
                  <a:pt x="2059" y="3661"/>
                </a:cubicBezTo>
                <a:cubicBezTo>
                  <a:pt x="2059" y="3725"/>
                  <a:pt x="2081" y="3779"/>
                  <a:pt x="2126" y="3823"/>
                </a:cubicBezTo>
                <a:cubicBezTo>
                  <a:pt x="2170" y="3868"/>
                  <a:pt x="2224" y="3890"/>
                  <a:pt x="2288" y="3890"/>
                </a:cubicBezTo>
                <a:cubicBezTo>
                  <a:pt x="2440" y="3890"/>
                  <a:pt x="2440" y="3890"/>
                  <a:pt x="2440" y="3890"/>
                </a:cubicBezTo>
                <a:cubicBezTo>
                  <a:pt x="2504" y="3890"/>
                  <a:pt x="2558" y="3868"/>
                  <a:pt x="2602" y="3823"/>
                </a:cubicBezTo>
                <a:cubicBezTo>
                  <a:pt x="2647" y="3779"/>
                  <a:pt x="2669" y="3725"/>
                  <a:pt x="2669" y="3661"/>
                </a:cubicBezTo>
                <a:cubicBezTo>
                  <a:pt x="2669" y="1917"/>
                  <a:pt x="2669" y="1917"/>
                  <a:pt x="2669" y="1917"/>
                </a:cubicBezTo>
                <a:cubicBezTo>
                  <a:pt x="3355" y="2641"/>
                  <a:pt x="3355" y="2641"/>
                  <a:pt x="3355" y="2641"/>
                </a:cubicBezTo>
                <a:cubicBezTo>
                  <a:pt x="3400" y="2686"/>
                  <a:pt x="3455" y="2708"/>
                  <a:pt x="3522" y="2708"/>
                </a:cubicBezTo>
                <a:cubicBezTo>
                  <a:pt x="3589" y="2708"/>
                  <a:pt x="3644" y="2686"/>
                  <a:pt x="3689" y="2641"/>
                </a:cubicBezTo>
                <a:cubicBezTo>
                  <a:pt x="3794" y="2536"/>
                  <a:pt x="3794" y="2536"/>
                  <a:pt x="3794" y="2536"/>
                </a:cubicBezTo>
                <a:cubicBezTo>
                  <a:pt x="3838" y="2492"/>
                  <a:pt x="3861" y="2438"/>
                  <a:pt x="3861" y="2374"/>
                </a:cubicBezTo>
                <a:cubicBezTo>
                  <a:pt x="3860" y="2311"/>
                  <a:pt x="3838" y="2257"/>
                  <a:pt x="3794" y="2212"/>
                </a:cubicBezTo>
                <a:cubicBezTo>
                  <a:pt x="2526" y="954"/>
                  <a:pt x="2526" y="954"/>
                  <a:pt x="2526" y="954"/>
                </a:cubicBezTo>
                <a:cubicBezTo>
                  <a:pt x="2481" y="909"/>
                  <a:pt x="2427" y="887"/>
                  <a:pt x="2364" y="887"/>
                </a:cubicBezTo>
                <a:cubicBezTo>
                  <a:pt x="2300" y="887"/>
                  <a:pt x="2246" y="909"/>
                  <a:pt x="2202" y="954"/>
                </a:cubicBezTo>
                <a:cubicBezTo>
                  <a:pt x="934" y="2212"/>
                  <a:pt x="934" y="2212"/>
                  <a:pt x="934" y="2212"/>
                </a:cubicBezTo>
                <a:cubicBezTo>
                  <a:pt x="889" y="2257"/>
                  <a:pt x="867" y="2311"/>
                  <a:pt x="867" y="2374"/>
                </a:cubicBezTo>
                <a:cubicBezTo>
                  <a:pt x="867" y="2438"/>
                  <a:pt x="889" y="2492"/>
                  <a:pt x="934" y="2536"/>
                </a:cubicBezTo>
                <a:cubicBezTo>
                  <a:pt x="1039" y="2641"/>
                  <a:pt x="1039" y="2641"/>
                  <a:pt x="1039" y="2641"/>
                </a:cubicBezTo>
                <a:cubicBezTo>
                  <a:pt x="1083" y="2686"/>
                  <a:pt x="1139" y="2708"/>
                  <a:pt x="1206" y="2708"/>
                </a:cubicBezTo>
                <a:cubicBezTo>
                  <a:pt x="1272" y="2708"/>
                  <a:pt x="1328" y="2686"/>
                  <a:pt x="1372" y="2641"/>
                </a:cubicBezTo>
                <a:lnTo>
                  <a:pt x="2059" y="191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pfeil, arrow">
            <a:extLst>
              <a:ext uri="{FF2B5EF4-FFF2-40B4-BE49-F238E27FC236}">
                <a16:creationId xmlns:a16="http://schemas.microsoft.com/office/drawing/2014/main" id="{689D64CD-3A22-B1C5-07ED-6EEE05F23AD9}"/>
              </a:ext>
            </a:extLst>
          </p:cNvPr>
          <p:cNvSpPr>
            <a:spLocks/>
          </p:cNvSpPr>
          <p:nvPr/>
        </p:nvSpPr>
        <p:spPr bwMode="auto">
          <a:xfrm rot="13500000" flipH="1">
            <a:off x="5720476" y="4865463"/>
            <a:ext cx="554672" cy="554672"/>
          </a:xfrm>
          <a:custGeom>
            <a:avLst/>
            <a:gdLst>
              <a:gd name="T0" fmla="*/ 319 w 4728"/>
              <a:gd name="T1" fmla="*/ 1183 h 4729"/>
              <a:gd name="T2" fmla="*/ 1182 w 4728"/>
              <a:gd name="T3" fmla="*/ 320 h 4729"/>
              <a:gd name="T4" fmla="*/ 2364 w 4728"/>
              <a:gd name="T5" fmla="*/ 0 h 4729"/>
              <a:gd name="T6" fmla="*/ 3546 w 4728"/>
              <a:gd name="T7" fmla="*/ 320 h 4729"/>
              <a:gd name="T8" fmla="*/ 4409 w 4728"/>
              <a:gd name="T9" fmla="*/ 1182 h 4729"/>
              <a:gd name="T10" fmla="*/ 4728 w 4728"/>
              <a:gd name="T11" fmla="*/ 2365 h 4729"/>
              <a:gd name="T12" fmla="*/ 4409 w 4728"/>
              <a:gd name="T13" fmla="*/ 3547 h 4729"/>
              <a:gd name="T14" fmla="*/ 3546 w 4728"/>
              <a:gd name="T15" fmla="*/ 4409 h 4729"/>
              <a:gd name="T16" fmla="*/ 2364 w 4728"/>
              <a:gd name="T17" fmla="*/ 4729 h 4729"/>
              <a:gd name="T18" fmla="*/ 1182 w 4728"/>
              <a:gd name="T19" fmla="*/ 4410 h 4729"/>
              <a:gd name="T20" fmla="*/ 319 w 4728"/>
              <a:gd name="T21" fmla="*/ 3547 h 4729"/>
              <a:gd name="T22" fmla="*/ 0 w 4728"/>
              <a:gd name="T23" fmla="*/ 2365 h 4729"/>
              <a:gd name="T24" fmla="*/ 319 w 4728"/>
              <a:gd name="T25" fmla="*/ 1183 h 4729"/>
              <a:gd name="T26" fmla="*/ 2059 w 4728"/>
              <a:gd name="T27" fmla="*/ 1917 h 4729"/>
              <a:gd name="T28" fmla="*/ 2059 w 4728"/>
              <a:gd name="T29" fmla="*/ 3661 h 4729"/>
              <a:gd name="T30" fmla="*/ 2126 w 4728"/>
              <a:gd name="T31" fmla="*/ 3823 h 4729"/>
              <a:gd name="T32" fmla="*/ 2288 w 4728"/>
              <a:gd name="T33" fmla="*/ 3890 h 4729"/>
              <a:gd name="T34" fmla="*/ 2440 w 4728"/>
              <a:gd name="T35" fmla="*/ 3890 h 4729"/>
              <a:gd name="T36" fmla="*/ 2602 w 4728"/>
              <a:gd name="T37" fmla="*/ 3823 h 4729"/>
              <a:gd name="T38" fmla="*/ 2669 w 4728"/>
              <a:gd name="T39" fmla="*/ 3661 h 4729"/>
              <a:gd name="T40" fmla="*/ 2669 w 4728"/>
              <a:gd name="T41" fmla="*/ 1917 h 4729"/>
              <a:gd name="T42" fmla="*/ 3355 w 4728"/>
              <a:gd name="T43" fmla="*/ 2641 h 4729"/>
              <a:gd name="T44" fmla="*/ 3522 w 4728"/>
              <a:gd name="T45" fmla="*/ 2708 h 4729"/>
              <a:gd name="T46" fmla="*/ 3689 w 4728"/>
              <a:gd name="T47" fmla="*/ 2641 h 4729"/>
              <a:gd name="T48" fmla="*/ 3794 w 4728"/>
              <a:gd name="T49" fmla="*/ 2536 h 4729"/>
              <a:gd name="T50" fmla="*/ 3861 w 4728"/>
              <a:gd name="T51" fmla="*/ 2374 h 4729"/>
              <a:gd name="T52" fmla="*/ 3794 w 4728"/>
              <a:gd name="T53" fmla="*/ 2212 h 4729"/>
              <a:gd name="T54" fmla="*/ 2526 w 4728"/>
              <a:gd name="T55" fmla="*/ 954 h 4729"/>
              <a:gd name="T56" fmla="*/ 2364 w 4728"/>
              <a:gd name="T57" fmla="*/ 887 h 4729"/>
              <a:gd name="T58" fmla="*/ 2202 w 4728"/>
              <a:gd name="T59" fmla="*/ 954 h 4729"/>
              <a:gd name="T60" fmla="*/ 934 w 4728"/>
              <a:gd name="T61" fmla="*/ 2212 h 4729"/>
              <a:gd name="T62" fmla="*/ 867 w 4728"/>
              <a:gd name="T63" fmla="*/ 2374 h 4729"/>
              <a:gd name="T64" fmla="*/ 934 w 4728"/>
              <a:gd name="T65" fmla="*/ 2536 h 4729"/>
              <a:gd name="T66" fmla="*/ 1039 w 4728"/>
              <a:gd name="T67" fmla="*/ 2641 h 4729"/>
              <a:gd name="T68" fmla="*/ 1206 w 4728"/>
              <a:gd name="T69" fmla="*/ 2708 h 4729"/>
              <a:gd name="T70" fmla="*/ 1372 w 4728"/>
              <a:gd name="T71" fmla="*/ 2641 h 4729"/>
              <a:gd name="T72" fmla="*/ 2059 w 4728"/>
              <a:gd name="T73" fmla="*/ 1917 h 47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728" h="4729">
                <a:moveTo>
                  <a:pt x="319" y="1183"/>
                </a:moveTo>
                <a:cubicBezTo>
                  <a:pt x="532" y="820"/>
                  <a:pt x="819" y="533"/>
                  <a:pt x="1182" y="320"/>
                </a:cubicBezTo>
                <a:cubicBezTo>
                  <a:pt x="1544" y="107"/>
                  <a:pt x="1938" y="0"/>
                  <a:pt x="2364" y="0"/>
                </a:cubicBezTo>
                <a:cubicBezTo>
                  <a:pt x="2790" y="0"/>
                  <a:pt x="3184" y="107"/>
                  <a:pt x="3546" y="320"/>
                </a:cubicBezTo>
                <a:cubicBezTo>
                  <a:pt x="3908" y="533"/>
                  <a:pt x="4196" y="820"/>
                  <a:pt x="4409" y="1182"/>
                </a:cubicBezTo>
                <a:cubicBezTo>
                  <a:pt x="4622" y="1545"/>
                  <a:pt x="4728" y="1939"/>
                  <a:pt x="4728" y="2365"/>
                </a:cubicBezTo>
                <a:cubicBezTo>
                  <a:pt x="4728" y="2790"/>
                  <a:pt x="4622" y="3184"/>
                  <a:pt x="4409" y="3547"/>
                </a:cubicBezTo>
                <a:cubicBezTo>
                  <a:pt x="4196" y="3909"/>
                  <a:pt x="3908" y="4197"/>
                  <a:pt x="3546" y="4409"/>
                </a:cubicBezTo>
                <a:cubicBezTo>
                  <a:pt x="3184" y="4622"/>
                  <a:pt x="2790" y="4729"/>
                  <a:pt x="2364" y="4729"/>
                </a:cubicBezTo>
                <a:cubicBezTo>
                  <a:pt x="1938" y="4729"/>
                  <a:pt x="1544" y="4622"/>
                  <a:pt x="1182" y="4410"/>
                </a:cubicBezTo>
                <a:cubicBezTo>
                  <a:pt x="820" y="4197"/>
                  <a:pt x="532" y="3909"/>
                  <a:pt x="319" y="3547"/>
                </a:cubicBezTo>
                <a:cubicBezTo>
                  <a:pt x="106" y="3185"/>
                  <a:pt x="0" y="2791"/>
                  <a:pt x="0" y="2365"/>
                </a:cubicBezTo>
                <a:cubicBezTo>
                  <a:pt x="0" y="1939"/>
                  <a:pt x="106" y="1545"/>
                  <a:pt x="319" y="1183"/>
                </a:cubicBezTo>
                <a:close/>
                <a:moveTo>
                  <a:pt x="2059" y="1917"/>
                </a:moveTo>
                <a:cubicBezTo>
                  <a:pt x="2059" y="3661"/>
                  <a:pt x="2059" y="3661"/>
                  <a:pt x="2059" y="3661"/>
                </a:cubicBezTo>
                <a:cubicBezTo>
                  <a:pt x="2059" y="3725"/>
                  <a:pt x="2081" y="3779"/>
                  <a:pt x="2126" y="3823"/>
                </a:cubicBezTo>
                <a:cubicBezTo>
                  <a:pt x="2170" y="3868"/>
                  <a:pt x="2224" y="3890"/>
                  <a:pt x="2288" y="3890"/>
                </a:cubicBezTo>
                <a:cubicBezTo>
                  <a:pt x="2440" y="3890"/>
                  <a:pt x="2440" y="3890"/>
                  <a:pt x="2440" y="3890"/>
                </a:cubicBezTo>
                <a:cubicBezTo>
                  <a:pt x="2504" y="3890"/>
                  <a:pt x="2558" y="3868"/>
                  <a:pt x="2602" y="3823"/>
                </a:cubicBezTo>
                <a:cubicBezTo>
                  <a:pt x="2647" y="3779"/>
                  <a:pt x="2669" y="3725"/>
                  <a:pt x="2669" y="3661"/>
                </a:cubicBezTo>
                <a:cubicBezTo>
                  <a:pt x="2669" y="1917"/>
                  <a:pt x="2669" y="1917"/>
                  <a:pt x="2669" y="1917"/>
                </a:cubicBezTo>
                <a:cubicBezTo>
                  <a:pt x="3355" y="2641"/>
                  <a:pt x="3355" y="2641"/>
                  <a:pt x="3355" y="2641"/>
                </a:cubicBezTo>
                <a:cubicBezTo>
                  <a:pt x="3400" y="2686"/>
                  <a:pt x="3455" y="2708"/>
                  <a:pt x="3522" y="2708"/>
                </a:cubicBezTo>
                <a:cubicBezTo>
                  <a:pt x="3589" y="2708"/>
                  <a:pt x="3644" y="2686"/>
                  <a:pt x="3689" y="2641"/>
                </a:cubicBezTo>
                <a:cubicBezTo>
                  <a:pt x="3794" y="2536"/>
                  <a:pt x="3794" y="2536"/>
                  <a:pt x="3794" y="2536"/>
                </a:cubicBezTo>
                <a:cubicBezTo>
                  <a:pt x="3838" y="2492"/>
                  <a:pt x="3861" y="2438"/>
                  <a:pt x="3861" y="2374"/>
                </a:cubicBezTo>
                <a:cubicBezTo>
                  <a:pt x="3860" y="2311"/>
                  <a:pt x="3838" y="2257"/>
                  <a:pt x="3794" y="2212"/>
                </a:cubicBezTo>
                <a:cubicBezTo>
                  <a:pt x="2526" y="954"/>
                  <a:pt x="2526" y="954"/>
                  <a:pt x="2526" y="954"/>
                </a:cubicBezTo>
                <a:cubicBezTo>
                  <a:pt x="2481" y="909"/>
                  <a:pt x="2427" y="887"/>
                  <a:pt x="2364" y="887"/>
                </a:cubicBezTo>
                <a:cubicBezTo>
                  <a:pt x="2300" y="887"/>
                  <a:pt x="2246" y="909"/>
                  <a:pt x="2202" y="954"/>
                </a:cubicBezTo>
                <a:cubicBezTo>
                  <a:pt x="934" y="2212"/>
                  <a:pt x="934" y="2212"/>
                  <a:pt x="934" y="2212"/>
                </a:cubicBezTo>
                <a:cubicBezTo>
                  <a:pt x="889" y="2257"/>
                  <a:pt x="867" y="2311"/>
                  <a:pt x="867" y="2374"/>
                </a:cubicBezTo>
                <a:cubicBezTo>
                  <a:pt x="867" y="2438"/>
                  <a:pt x="889" y="2492"/>
                  <a:pt x="934" y="2536"/>
                </a:cubicBezTo>
                <a:cubicBezTo>
                  <a:pt x="1039" y="2641"/>
                  <a:pt x="1039" y="2641"/>
                  <a:pt x="1039" y="2641"/>
                </a:cubicBezTo>
                <a:cubicBezTo>
                  <a:pt x="1083" y="2686"/>
                  <a:pt x="1139" y="2708"/>
                  <a:pt x="1206" y="2708"/>
                </a:cubicBezTo>
                <a:cubicBezTo>
                  <a:pt x="1272" y="2708"/>
                  <a:pt x="1328" y="2686"/>
                  <a:pt x="1372" y="2641"/>
                </a:cubicBezTo>
                <a:lnTo>
                  <a:pt x="2059" y="191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pfeil, arrow">
            <a:extLst>
              <a:ext uri="{FF2B5EF4-FFF2-40B4-BE49-F238E27FC236}">
                <a16:creationId xmlns:a16="http://schemas.microsoft.com/office/drawing/2014/main" id="{F5D4358C-49C3-6D96-F540-CA3F624C47CC}"/>
              </a:ext>
            </a:extLst>
          </p:cNvPr>
          <p:cNvSpPr>
            <a:spLocks/>
          </p:cNvSpPr>
          <p:nvPr/>
        </p:nvSpPr>
        <p:spPr bwMode="auto">
          <a:xfrm rot="8100000" flipH="1">
            <a:off x="6383148" y="4865463"/>
            <a:ext cx="554672" cy="554672"/>
          </a:xfrm>
          <a:custGeom>
            <a:avLst/>
            <a:gdLst>
              <a:gd name="T0" fmla="*/ 319 w 4728"/>
              <a:gd name="T1" fmla="*/ 1183 h 4729"/>
              <a:gd name="T2" fmla="*/ 1182 w 4728"/>
              <a:gd name="T3" fmla="*/ 320 h 4729"/>
              <a:gd name="T4" fmla="*/ 2364 w 4728"/>
              <a:gd name="T5" fmla="*/ 0 h 4729"/>
              <a:gd name="T6" fmla="*/ 3546 w 4728"/>
              <a:gd name="T7" fmla="*/ 320 h 4729"/>
              <a:gd name="T8" fmla="*/ 4409 w 4728"/>
              <a:gd name="T9" fmla="*/ 1182 h 4729"/>
              <a:gd name="T10" fmla="*/ 4728 w 4728"/>
              <a:gd name="T11" fmla="*/ 2365 h 4729"/>
              <a:gd name="T12" fmla="*/ 4409 w 4728"/>
              <a:gd name="T13" fmla="*/ 3547 h 4729"/>
              <a:gd name="T14" fmla="*/ 3546 w 4728"/>
              <a:gd name="T15" fmla="*/ 4409 h 4729"/>
              <a:gd name="T16" fmla="*/ 2364 w 4728"/>
              <a:gd name="T17" fmla="*/ 4729 h 4729"/>
              <a:gd name="T18" fmla="*/ 1182 w 4728"/>
              <a:gd name="T19" fmla="*/ 4410 h 4729"/>
              <a:gd name="T20" fmla="*/ 319 w 4728"/>
              <a:gd name="T21" fmla="*/ 3547 h 4729"/>
              <a:gd name="T22" fmla="*/ 0 w 4728"/>
              <a:gd name="T23" fmla="*/ 2365 h 4729"/>
              <a:gd name="T24" fmla="*/ 319 w 4728"/>
              <a:gd name="T25" fmla="*/ 1183 h 4729"/>
              <a:gd name="T26" fmla="*/ 2059 w 4728"/>
              <a:gd name="T27" fmla="*/ 1917 h 4729"/>
              <a:gd name="T28" fmla="*/ 2059 w 4728"/>
              <a:gd name="T29" fmla="*/ 3661 h 4729"/>
              <a:gd name="T30" fmla="*/ 2126 w 4728"/>
              <a:gd name="T31" fmla="*/ 3823 h 4729"/>
              <a:gd name="T32" fmla="*/ 2288 w 4728"/>
              <a:gd name="T33" fmla="*/ 3890 h 4729"/>
              <a:gd name="T34" fmla="*/ 2440 w 4728"/>
              <a:gd name="T35" fmla="*/ 3890 h 4729"/>
              <a:gd name="T36" fmla="*/ 2602 w 4728"/>
              <a:gd name="T37" fmla="*/ 3823 h 4729"/>
              <a:gd name="T38" fmla="*/ 2669 w 4728"/>
              <a:gd name="T39" fmla="*/ 3661 h 4729"/>
              <a:gd name="T40" fmla="*/ 2669 w 4728"/>
              <a:gd name="T41" fmla="*/ 1917 h 4729"/>
              <a:gd name="T42" fmla="*/ 3355 w 4728"/>
              <a:gd name="T43" fmla="*/ 2641 h 4729"/>
              <a:gd name="T44" fmla="*/ 3522 w 4728"/>
              <a:gd name="T45" fmla="*/ 2708 h 4729"/>
              <a:gd name="T46" fmla="*/ 3689 w 4728"/>
              <a:gd name="T47" fmla="*/ 2641 h 4729"/>
              <a:gd name="T48" fmla="*/ 3794 w 4728"/>
              <a:gd name="T49" fmla="*/ 2536 h 4729"/>
              <a:gd name="T50" fmla="*/ 3861 w 4728"/>
              <a:gd name="T51" fmla="*/ 2374 h 4729"/>
              <a:gd name="T52" fmla="*/ 3794 w 4728"/>
              <a:gd name="T53" fmla="*/ 2212 h 4729"/>
              <a:gd name="T54" fmla="*/ 2526 w 4728"/>
              <a:gd name="T55" fmla="*/ 954 h 4729"/>
              <a:gd name="T56" fmla="*/ 2364 w 4728"/>
              <a:gd name="T57" fmla="*/ 887 h 4729"/>
              <a:gd name="T58" fmla="*/ 2202 w 4728"/>
              <a:gd name="T59" fmla="*/ 954 h 4729"/>
              <a:gd name="T60" fmla="*/ 934 w 4728"/>
              <a:gd name="T61" fmla="*/ 2212 h 4729"/>
              <a:gd name="T62" fmla="*/ 867 w 4728"/>
              <a:gd name="T63" fmla="*/ 2374 h 4729"/>
              <a:gd name="T64" fmla="*/ 934 w 4728"/>
              <a:gd name="T65" fmla="*/ 2536 h 4729"/>
              <a:gd name="T66" fmla="*/ 1039 w 4728"/>
              <a:gd name="T67" fmla="*/ 2641 h 4729"/>
              <a:gd name="T68" fmla="*/ 1206 w 4728"/>
              <a:gd name="T69" fmla="*/ 2708 h 4729"/>
              <a:gd name="T70" fmla="*/ 1372 w 4728"/>
              <a:gd name="T71" fmla="*/ 2641 h 4729"/>
              <a:gd name="T72" fmla="*/ 2059 w 4728"/>
              <a:gd name="T73" fmla="*/ 1917 h 47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728" h="4729">
                <a:moveTo>
                  <a:pt x="319" y="1183"/>
                </a:moveTo>
                <a:cubicBezTo>
                  <a:pt x="532" y="820"/>
                  <a:pt x="819" y="533"/>
                  <a:pt x="1182" y="320"/>
                </a:cubicBezTo>
                <a:cubicBezTo>
                  <a:pt x="1544" y="107"/>
                  <a:pt x="1938" y="0"/>
                  <a:pt x="2364" y="0"/>
                </a:cubicBezTo>
                <a:cubicBezTo>
                  <a:pt x="2790" y="0"/>
                  <a:pt x="3184" y="107"/>
                  <a:pt x="3546" y="320"/>
                </a:cubicBezTo>
                <a:cubicBezTo>
                  <a:pt x="3908" y="533"/>
                  <a:pt x="4196" y="820"/>
                  <a:pt x="4409" y="1182"/>
                </a:cubicBezTo>
                <a:cubicBezTo>
                  <a:pt x="4622" y="1545"/>
                  <a:pt x="4728" y="1939"/>
                  <a:pt x="4728" y="2365"/>
                </a:cubicBezTo>
                <a:cubicBezTo>
                  <a:pt x="4728" y="2790"/>
                  <a:pt x="4622" y="3184"/>
                  <a:pt x="4409" y="3547"/>
                </a:cubicBezTo>
                <a:cubicBezTo>
                  <a:pt x="4196" y="3909"/>
                  <a:pt x="3908" y="4197"/>
                  <a:pt x="3546" y="4409"/>
                </a:cubicBezTo>
                <a:cubicBezTo>
                  <a:pt x="3184" y="4622"/>
                  <a:pt x="2790" y="4729"/>
                  <a:pt x="2364" y="4729"/>
                </a:cubicBezTo>
                <a:cubicBezTo>
                  <a:pt x="1938" y="4729"/>
                  <a:pt x="1544" y="4622"/>
                  <a:pt x="1182" y="4410"/>
                </a:cubicBezTo>
                <a:cubicBezTo>
                  <a:pt x="820" y="4197"/>
                  <a:pt x="532" y="3909"/>
                  <a:pt x="319" y="3547"/>
                </a:cubicBezTo>
                <a:cubicBezTo>
                  <a:pt x="106" y="3185"/>
                  <a:pt x="0" y="2791"/>
                  <a:pt x="0" y="2365"/>
                </a:cubicBezTo>
                <a:cubicBezTo>
                  <a:pt x="0" y="1939"/>
                  <a:pt x="106" y="1545"/>
                  <a:pt x="319" y="1183"/>
                </a:cubicBezTo>
                <a:close/>
                <a:moveTo>
                  <a:pt x="2059" y="1917"/>
                </a:moveTo>
                <a:cubicBezTo>
                  <a:pt x="2059" y="3661"/>
                  <a:pt x="2059" y="3661"/>
                  <a:pt x="2059" y="3661"/>
                </a:cubicBezTo>
                <a:cubicBezTo>
                  <a:pt x="2059" y="3725"/>
                  <a:pt x="2081" y="3779"/>
                  <a:pt x="2126" y="3823"/>
                </a:cubicBezTo>
                <a:cubicBezTo>
                  <a:pt x="2170" y="3868"/>
                  <a:pt x="2224" y="3890"/>
                  <a:pt x="2288" y="3890"/>
                </a:cubicBezTo>
                <a:cubicBezTo>
                  <a:pt x="2440" y="3890"/>
                  <a:pt x="2440" y="3890"/>
                  <a:pt x="2440" y="3890"/>
                </a:cubicBezTo>
                <a:cubicBezTo>
                  <a:pt x="2504" y="3890"/>
                  <a:pt x="2558" y="3868"/>
                  <a:pt x="2602" y="3823"/>
                </a:cubicBezTo>
                <a:cubicBezTo>
                  <a:pt x="2647" y="3779"/>
                  <a:pt x="2669" y="3725"/>
                  <a:pt x="2669" y="3661"/>
                </a:cubicBezTo>
                <a:cubicBezTo>
                  <a:pt x="2669" y="1917"/>
                  <a:pt x="2669" y="1917"/>
                  <a:pt x="2669" y="1917"/>
                </a:cubicBezTo>
                <a:cubicBezTo>
                  <a:pt x="3355" y="2641"/>
                  <a:pt x="3355" y="2641"/>
                  <a:pt x="3355" y="2641"/>
                </a:cubicBezTo>
                <a:cubicBezTo>
                  <a:pt x="3400" y="2686"/>
                  <a:pt x="3455" y="2708"/>
                  <a:pt x="3522" y="2708"/>
                </a:cubicBezTo>
                <a:cubicBezTo>
                  <a:pt x="3589" y="2708"/>
                  <a:pt x="3644" y="2686"/>
                  <a:pt x="3689" y="2641"/>
                </a:cubicBezTo>
                <a:cubicBezTo>
                  <a:pt x="3794" y="2536"/>
                  <a:pt x="3794" y="2536"/>
                  <a:pt x="3794" y="2536"/>
                </a:cubicBezTo>
                <a:cubicBezTo>
                  <a:pt x="3838" y="2492"/>
                  <a:pt x="3861" y="2438"/>
                  <a:pt x="3861" y="2374"/>
                </a:cubicBezTo>
                <a:cubicBezTo>
                  <a:pt x="3860" y="2311"/>
                  <a:pt x="3838" y="2257"/>
                  <a:pt x="3794" y="2212"/>
                </a:cubicBezTo>
                <a:cubicBezTo>
                  <a:pt x="2526" y="954"/>
                  <a:pt x="2526" y="954"/>
                  <a:pt x="2526" y="954"/>
                </a:cubicBezTo>
                <a:cubicBezTo>
                  <a:pt x="2481" y="909"/>
                  <a:pt x="2427" y="887"/>
                  <a:pt x="2364" y="887"/>
                </a:cubicBezTo>
                <a:cubicBezTo>
                  <a:pt x="2300" y="887"/>
                  <a:pt x="2246" y="909"/>
                  <a:pt x="2202" y="954"/>
                </a:cubicBezTo>
                <a:cubicBezTo>
                  <a:pt x="934" y="2212"/>
                  <a:pt x="934" y="2212"/>
                  <a:pt x="934" y="2212"/>
                </a:cubicBezTo>
                <a:cubicBezTo>
                  <a:pt x="889" y="2257"/>
                  <a:pt x="867" y="2311"/>
                  <a:pt x="867" y="2374"/>
                </a:cubicBezTo>
                <a:cubicBezTo>
                  <a:pt x="867" y="2438"/>
                  <a:pt x="889" y="2492"/>
                  <a:pt x="934" y="2536"/>
                </a:cubicBezTo>
                <a:cubicBezTo>
                  <a:pt x="1039" y="2641"/>
                  <a:pt x="1039" y="2641"/>
                  <a:pt x="1039" y="2641"/>
                </a:cubicBezTo>
                <a:cubicBezTo>
                  <a:pt x="1083" y="2686"/>
                  <a:pt x="1139" y="2708"/>
                  <a:pt x="1206" y="2708"/>
                </a:cubicBezTo>
                <a:cubicBezTo>
                  <a:pt x="1272" y="2708"/>
                  <a:pt x="1328" y="2686"/>
                  <a:pt x="1372" y="2641"/>
                </a:cubicBezTo>
                <a:lnTo>
                  <a:pt x="2059" y="191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8" name="Gruppieren 87">
            <a:extLst>
              <a:ext uri="{FF2B5EF4-FFF2-40B4-BE49-F238E27FC236}">
                <a16:creationId xmlns:a16="http://schemas.microsoft.com/office/drawing/2014/main" id="{5C0B3332-8E59-81DD-8572-4385B25E0719}"/>
              </a:ext>
            </a:extLst>
          </p:cNvPr>
          <p:cNvGrpSpPr>
            <a:grpSpLocks/>
          </p:cNvGrpSpPr>
          <p:nvPr/>
        </p:nvGrpSpPr>
        <p:grpSpPr>
          <a:xfrm>
            <a:off x="7797801" y="2354739"/>
            <a:ext cx="1797050" cy="323850"/>
            <a:chOff x="7797801" y="2354739"/>
            <a:chExt cx="1797050" cy="323850"/>
          </a:xfrm>
        </p:grpSpPr>
        <p:sp>
          <p:nvSpPr>
            <p:cNvPr id="49" name="Stern: 5 Zacken 58">
              <a:extLst>
                <a:ext uri="{FF2B5EF4-FFF2-40B4-BE49-F238E27FC236}">
                  <a16:creationId xmlns:a16="http://schemas.microsoft.com/office/drawing/2014/main" id="{BDF82CE7-41E2-758B-AABC-AA79165DE574}"/>
                </a:ext>
              </a:extLst>
            </p:cNvPr>
            <p:cNvSpPr>
              <a:spLocks/>
            </p:cNvSpPr>
            <p:nvPr/>
          </p:nvSpPr>
          <p:spPr>
            <a:xfrm>
              <a:off x="7797801" y="23547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Stern: 5 Zacken 59">
              <a:extLst>
                <a:ext uri="{FF2B5EF4-FFF2-40B4-BE49-F238E27FC236}">
                  <a16:creationId xmlns:a16="http://schemas.microsoft.com/office/drawing/2014/main" id="{E3A74C51-6042-E5F7-256C-A98BC6555B45}"/>
                </a:ext>
              </a:extLst>
            </p:cNvPr>
            <p:cNvSpPr>
              <a:spLocks/>
            </p:cNvSpPr>
            <p:nvPr/>
          </p:nvSpPr>
          <p:spPr>
            <a:xfrm>
              <a:off x="8166101" y="23547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Stern: 5 Zacken 60">
              <a:extLst>
                <a:ext uri="{FF2B5EF4-FFF2-40B4-BE49-F238E27FC236}">
                  <a16:creationId xmlns:a16="http://schemas.microsoft.com/office/drawing/2014/main" id="{D2B90A9E-E17F-072C-1CC8-AE366E8646CF}"/>
                </a:ext>
              </a:extLst>
            </p:cNvPr>
            <p:cNvSpPr>
              <a:spLocks/>
            </p:cNvSpPr>
            <p:nvPr/>
          </p:nvSpPr>
          <p:spPr>
            <a:xfrm>
              <a:off x="8534401" y="23547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Stern: 5 Zacken 61">
              <a:extLst>
                <a:ext uri="{FF2B5EF4-FFF2-40B4-BE49-F238E27FC236}">
                  <a16:creationId xmlns:a16="http://schemas.microsoft.com/office/drawing/2014/main" id="{1FE48BC6-B103-FB5C-1559-366851CAAFE0}"/>
                </a:ext>
              </a:extLst>
            </p:cNvPr>
            <p:cNvSpPr>
              <a:spLocks/>
            </p:cNvSpPr>
            <p:nvPr/>
          </p:nvSpPr>
          <p:spPr>
            <a:xfrm>
              <a:off x="8902701" y="23547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Stern: 5 Zacken 62">
              <a:extLst>
                <a:ext uri="{FF2B5EF4-FFF2-40B4-BE49-F238E27FC236}">
                  <a16:creationId xmlns:a16="http://schemas.microsoft.com/office/drawing/2014/main" id="{9788993F-3470-B2A6-0439-7CA0A1310970}"/>
                </a:ext>
              </a:extLst>
            </p:cNvPr>
            <p:cNvSpPr>
              <a:spLocks/>
            </p:cNvSpPr>
            <p:nvPr/>
          </p:nvSpPr>
          <p:spPr>
            <a:xfrm>
              <a:off x="9271001" y="23547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4" name="Gruppieren 86">
            <a:extLst>
              <a:ext uri="{FF2B5EF4-FFF2-40B4-BE49-F238E27FC236}">
                <a16:creationId xmlns:a16="http://schemas.microsoft.com/office/drawing/2014/main" id="{D8A80F36-A685-19DD-71D7-7D0C6B182498}"/>
              </a:ext>
            </a:extLst>
          </p:cNvPr>
          <p:cNvGrpSpPr>
            <a:grpSpLocks/>
          </p:cNvGrpSpPr>
          <p:nvPr/>
        </p:nvGrpSpPr>
        <p:grpSpPr>
          <a:xfrm>
            <a:off x="7797801" y="2748439"/>
            <a:ext cx="1797050" cy="323850"/>
            <a:chOff x="7797801" y="2748439"/>
            <a:chExt cx="1797050" cy="323850"/>
          </a:xfrm>
        </p:grpSpPr>
        <p:sp>
          <p:nvSpPr>
            <p:cNvPr id="55" name="Stern: 5 Zacken 63">
              <a:extLst>
                <a:ext uri="{FF2B5EF4-FFF2-40B4-BE49-F238E27FC236}">
                  <a16:creationId xmlns:a16="http://schemas.microsoft.com/office/drawing/2014/main" id="{FB8E650D-4C73-E637-FC75-521F003162D4}"/>
                </a:ext>
              </a:extLst>
            </p:cNvPr>
            <p:cNvSpPr>
              <a:spLocks/>
            </p:cNvSpPr>
            <p:nvPr/>
          </p:nvSpPr>
          <p:spPr>
            <a:xfrm>
              <a:off x="7797801" y="27484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Stern: 5 Zacken 64">
              <a:extLst>
                <a:ext uri="{FF2B5EF4-FFF2-40B4-BE49-F238E27FC236}">
                  <a16:creationId xmlns:a16="http://schemas.microsoft.com/office/drawing/2014/main" id="{74F71358-236A-9BD5-6FAB-B5BD351BA4B8}"/>
                </a:ext>
              </a:extLst>
            </p:cNvPr>
            <p:cNvSpPr>
              <a:spLocks/>
            </p:cNvSpPr>
            <p:nvPr/>
          </p:nvSpPr>
          <p:spPr>
            <a:xfrm>
              <a:off x="8166101" y="27484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Stern: 5 Zacken 65">
              <a:extLst>
                <a:ext uri="{FF2B5EF4-FFF2-40B4-BE49-F238E27FC236}">
                  <a16:creationId xmlns:a16="http://schemas.microsoft.com/office/drawing/2014/main" id="{2A91C7C0-78EA-9036-8A3A-89AAF46E102D}"/>
                </a:ext>
              </a:extLst>
            </p:cNvPr>
            <p:cNvSpPr>
              <a:spLocks/>
            </p:cNvSpPr>
            <p:nvPr/>
          </p:nvSpPr>
          <p:spPr>
            <a:xfrm>
              <a:off x="8534401" y="27484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Stern: 5 Zacken 66">
              <a:extLst>
                <a:ext uri="{FF2B5EF4-FFF2-40B4-BE49-F238E27FC236}">
                  <a16:creationId xmlns:a16="http://schemas.microsoft.com/office/drawing/2014/main" id="{C27BD12C-18CE-235D-23DA-B04C3390B6C0}"/>
                </a:ext>
              </a:extLst>
            </p:cNvPr>
            <p:cNvSpPr>
              <a:spLocks/>
            </p:cNvSpPr>
            <p:nvPr/>
          </p:nvSpPr>
          <p:spPr>
            <a:xfrm>
              <a:off x="8902701" y="27484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Stern: 5 Zacken 67">
              <a:extLst>
                <a:ext uri="{FF2B5EF4-FFF2-40B4-BE49-F238E27FC236}">
                  <a16:creationId xmlns:a16="http://schemas.microsoft.com/office/drawing/2014/main" id="{D00041C2-5EF3-7252-652E-A52E6E0BFCA4}"/>
                </a:ext>
              </a:extLst>
            </p:cNvPr>
            <p:cNvSpPr>
              <a:spLocks/>
            </p:cNvSpPr>
            <p:nvPr/>
          </p:nvSpPr>
          <p:spPr>
            <a:xfrm>
              <a:off x="9271001" y="27484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0" name="Gruppieren 85">
            <a:extLst>
              <a:ext uri="{FF2B5EF4-FFF2-40B4-BE49-F238E27FC236}">
                <a16:creationId xmlns:a16="http://schemas.microsoft.com/office/drawing/2014/main" id="{3DC86C05-6699-B063-0ED6-1A31E8C54CA9}"/>
              </a:ext>
            </a:extLst>
          </p:cNvPr>
          <p:cNvGrpSpPr>
            <a:grpSpLocks/>
          </p:cNvGrpSpPr>
          <p:nvPr/>
        </p:nvGrpSpPr>
        <p:grpSpPr>
          <a:xfrm>
            <a:off x="7797801" y="3142139"/>
            <a:ext cx="1797050" cy="323850"/>
            <a:chOff x="7797801" y="3142139"/>
            <a:chExt cx="1797050" cy="323850"/>
          </a:xfrm>
        </p:grpSpPr>
        <p:sp>
          <p:nvSpPr>
            <p:cNvPr id="61" name="Stern: 5 Zacken 68">
              <a:extLst>
                <a:ext uri="{FF2B5EF4-FFF2-40B4-BE49-F238E27FC236}">
                  <a16:creationId xmlns:a16="http://schemas.microsoft.com/office/drawing/2014/main" id="{88B2422D-088D-7FB8-979A-CD2C27E21010}"/>
                </a:ext>
              </a:extLst>
            </p:cNvPr>
            <p:cNvSpPr>
              <a:spLocks/>
            </p:cNvSpPr>
            <p:nvPr/>
          </p:nvSpPr>
          <p:spPr>
            <a:xfrm>
              <a:off x="7797801" y="31421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Stern: 5 Zacken 69">
              <a:extLst>
                <a:ext uri="{FF2B5EF4-FFF2-40B4-BE49-F238E27FC236}">
                  <a16:creationId xmlns:a16="http://schemas.microsoft.com/office/drawing/2014/main" id="{6B6A261F-9A09-D492-511C-DD9B4D5CA4C9}"/>
                </a:ext>
              </a:extLst>
            </p:cNvPr>
            <p:cNvSpPr>
              <a:spLocks/>
            </p:cNvSpPr>
            <p:nvPr/>
          </p:nvSpPr>
          <p:spPr>
            <a:xfrm>
              <a:off x="8166101" y="31421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Stern: 5 Zacken 70">
              <a:extLst>
                <a:ext uri="{FF2B5EF4-FFF2-40B4-BE49-F238E27FC236}">
                  <a16:creationId xmlns:a16="http://schemas.microsoft.com/office/drawing/2014/main" id="{9B189E28-1B4F-A25B-3224-BC6EBCDE7F1C}"/>
                </a:ext>
              </a:extLst>
            </p:cNvPr>
            <p:cNvSpPr>
              <a:spLocks/>
            </p:cNvSpPr>
            <p:nvPr/>
          </p:nvSpPr>
          <p:spPr>
            <a:xfrm>
              <a:off x="8534401" y="31421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Stern: 5 Zacken 71">
              <a:extLst>
                <a:ext uri="{FF2B5EF4-FFF2-40B4-BE49-F238E27FC236}">
                  <a16:creationId xmlns:a16="http://schemas.microsoft.com/office/drawing/2014/main" id="{D7003E6E-2A48-09C3-3BE1-0A5D92FA03CC}"/>
                </a:ext>
              </a:extLst>
            </p:cNvPr>
            <p:cNvSpPr>
              <a:spLocks/>
            </p:cNvSpPr>
            <p:nvPr/>
          </p:nvSpPr>
          <p:spPr>
            <a:xfrm>
              <a:off x="8902701" y="31421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Stern: 5 Zacken 72">
              <a:extLst>
                <a:ext uri="{FF2B5EF4-FFF2-40B4-BE49-F238E27FC236}">
                  <a16:creationId xmlns:a16="http://schemas.microsoft.com/office/drawing/2014/main" id="{C4898683-B8DA-7E5E-6F8A-BF075EECD2EA}"/>
                </a:ext>
              </a:extLst>
            </p:cNvPr>
            <p:cNvSpPr>
              <a:spLocks/>
            </p:cNvSpPr>
            <p:nvPr/>
          </p:nvSpPr>
          <p:spPr>
            <a:xfrm>
              <a:off x="9271001" y="31421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6" name="Gruppieren 84">
            <a:extLst>
              <a:ext uri="{FF2B5EF4-FFF2-40B4-BE49-F238E27FC236}">
                <a16:creationId xmlns:a16="http://schemas.microsoft.com/office/drawing/2014/main" id="{364EAE16-8838-4001-95CE-1E5FB452211C}"/>
              </a:ext>
            </a:extLst>
          </p:cNvPr>
          <p:cNvGrpSpPr>
            <a:grpSpLocks/>
          </p:cNvGrpSpPr>
          <p:nvPr/>
        </p:nvGrpSpPr>
        <p:grpSpPr>
          <a:xfrm>
            <a:off x="7797801" y="3535839"/>
            <a:ext cx="1797050" cy="323850"/>
            <a:chOff x="7797801" y="3535839"/>
            <a:chExt cx="1797050" cy="323850"/>
          </a:xfrm>
        </p:grpSpPr>
        <p:sp>
          <p:nvSpPr>
            <p:cNvPr id="67" name="Stern: 5 Zacken 73">
              <a:extLst>
                <a:ext uri="{FF2B5EF4-FFF2-40B4-BE49-F238E27FC236}">
                  <a16:creationId xmlns:a16="http://schemas.microsoft.com/office/drawing/2014/main" id="{0DF1CC04-FB60-2D02-5579-E89A44E0D75F}"/>
                </a:ext>
              </a:extLst>
            </p:cNvPr>
            <p:cNvSpPr>
              <a:spLocks/>
            </p:cNvSpPr>
            <p:nvPr/>
          </p:nvSpPr>
          <p:spPr>
            <a:xfrm>
              <a:off x="7797801" y="35358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Stern: 5 Zacken 74">
              <a:extLst>
                <a:ext uri="{FF2B5EF4-FFF2-40B4-BE49-F238E27FC236}">
                  <a16:creationId xmlns:a16="http://schemas.microsoft.com/office/drawing/2014/main" id="{7E7D57BC-D725-B15A-C861-725FFC61883B}"/>
                </a:ext>
              </a:extLst>
            </p:cNvPr>
            <p:cNvSpPr>
              <a:spLocks/>
            </p:cNvSpPr>
            <p:nvPr/>
          </p:nvSpPr>
          <p:spPr>
            <a:xfrm>
              <a:off x="8166101" y="35358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Stern: 5 Zacken 75">
              <a:extLst>
                <a:ext uri="{FF2B5EF4-FFF2-40B4-BE49-F238E27FC236}">
                  <a16:creationId xmlns:a16="http://schemas.microsoft.com/office/drawing/2014/main" id="{04A0AE08-5836-6919-E3A8-5B1E859DAA38}"/>
                </a:ext>
              </a:extLst>
            </p:cNvPr>
            <p:cNvSpPr>
              <a:spLocks/>
            </p:cNvSpPr>
            <p:nvPr/>
          </p:nvSpPr>
          <p:spPr>
            <a:xfrm>
              <a:off x="8534401" y="35358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Stern: 5 Zacken 76">
              <a:extLst>
                <a:ext uri="{FF2B5EF4-FFF2-40B4-BE49-F238E27FC236}">
                  <a16:creationId xmlns:a16="http://schemas.microsoft.com/office/drawing/2014/main" id="{2E0835F3-D246-AD2E-E0BB-FF711FF401F9}"/>
                </a:ext>
              </a:extLst>
            </p:cNvPr>
            <p:cNvSpPr>
              <a:spLocks/>
            </p:cNvSpPr>
            <p:nvPr/>
          </p:nvSpPr>
          <p:spPr>
            <a:xfrm>
              <a:off x="8902701" y="35358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Stern: 5 Zacken 77">
              <a:extLst>
                <a:ext uri="{FF2B5EF4-FFF2-40B4-BE49-F238E27FC236}">
                  <a16:creationId xmlns:a16="http://schemas.microsoft.com/office/drawing/2014/main" id="{7CEA2ACC-C692-F0A9-C187-2DE87EA986BF}"/>
                </a:ext>
              </a:extLst>
            </p:cNvPr>
            <p:cNvSpPr>
              <a:spLocks/>
            </p:cNvSpPr>
            <p:nvPr/>
          </p:nvSpPr>
          <p:spPr>
            <a:xfrm>
              <a:off x="9271001" y="35358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2" name="Gruppieren 83">
            <a:extLst>
              <a:ext uri="{FF2B5EF4-FFF2-40B4-BE49-F238E27FC236}">
                <a16:creationId xmlns:a16="http://schemas.microsoft.com/office/drawing/2014/main" id="{6A698AE8-258C-C774-1ECE-53A0FF847A7D}"/>
              </a:ext>
            </a:extLst>
          </p:cNvPr>
          <p:cNvGrpSpPr>
            <a:grpSpLocks/>
          </p:cNvGrpSpPr>
          <p:nvPr/>
        </p:nvGrpSpPr>
        <p:grpSpPr>
          <a:xfrm>
            <a:off x="7797801" y="3929539"/>
            <a:ext cx="1797050" cy="323850"/>
            <a:chOff x="7797801" y="3929539"/>
            <a:chExt cx="1797050" cy="323850"/>
          </a:xfrm>
        </p:grpSpPr>
        <p:sp>
          <p:nvSpPr>
            <p:cNvPr id="73" name="Stern: 5 Zacken 78">
              <a:extLst>
                <a:ext uri="{FF2B5EF4-FFF2-40B4-BE49-F238E27FC236}">
                  <a16:creationId xmlns:a16="http://schemas.microsoft.com/office/drawing/2014/main" id="{49A508E1-431D-CE92-5109-E670B2C1C16F}"/>
                </a:ext>
              </a:extLst>
            </p:cNvPr>
            <p:cNvSpPr>
              <a:spLocks/>
            </p:cNvSpPr>
            <p:nvPr/>
          </p:nvSpPr>
          <p:spPr>
            <a:xfrm>
              <a:off x="7797801" y="39295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Stern: 5 Zacken 79">
              <a:extLst>
                <a:ext uri="{FF2B5EF4-FFF2-40B4-BE49-F238E27FC236}">
                  <a16:creationId xmlns:a16="http://schemas.microsoft.com/office/drawing/2014/main" id="{B3D86CE2-EB7B-C41C-0528-C971757EF326}"/>
                </a:ext>
              </a:extLst>
            </p:cNvPr>
            <p:cNvSpPr>
              <a:spLocks/>
            </p:cNvSpPr>
            <p:nvPr/>
          </p:nvSpPr>
          <p:spPr>
            <a:xfrm>
              <a:off x="8166101" y="39295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Stern: 5 Zacken 80">
              <a:extLst>
                <a:ext uri="{FF2B5EF4-FFF2-40B4-BE49-F238E27FC236}">
                  <a16:creationId xmlns:a16="http://schemas.microsoft.com/office/drawing/2014/main" id="{4E5395B6-F06A-2696-7AF8-B95947B849A6}"/>
                </a:ext>
              </a:extLst>
            </p:cNvPr>
            <p:cNvSpPr>
              <a:spLocks/>
            </p:cNvSpPr>
            <p:nvPr/>
          </p:nvSpPr>
          <p:spPr>
            <a:xfrm>
              <a:off x="8534401" y="39295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Stern: 5 Zacken 81">
              <a:extLst>
                <a:ext uri="{FF2B5EF4-FFF2-40B4-BE49-F238E27FC236}">
                  <a16:creationId xmlns:a16="http://schemas.microsoft.com/office/drawing/2014/main" id="{100CEBAB-D9E9-B983-2CD7-77FC61A7220E}"/>
                </a:ext>
              </a:extLst>
            </p:cNvPr>
            <p:cNvSpPr>
              <a:spLocks/>
            </p:cNvSpPr>
            <p:nvPr/>
          </p:nvSpPr>
          <p:spPr>
            <a:xfrm>
              <a:off x="8902701" y="39295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Stern: 5 Zacken 82">
              <a:extLst>
                <a:ext uri="{FF2B5EF4-FFF2-40B4-BE49-F238E27FC236}">
                  <a16:creationId xmlns:a16="http://schemas.microsoft.com/office/drawing/2014/main" id="{82E7F2F5-A27E-6507-4E12-89E31CE88490}"/>
                </a:ext>
              </a:extLst>
            </p:cNvPr>
            <p:cNvSpPr>
              <a:spLocks/>
            </p:cNvSpPr>
            <p:nvPr/>
          </p:nvSpPr>
          <p:spPr>
            <a:xfrm>
              <a:off x="9271001" y="3929539"/>
              <a:ext cx="323850" cy="323850"/>
            </a:xfrm>
            <a:prstGeom prst="star5">
              <a:avLst>
                <a:gd name="adj" fmla="val 25596"/>
                <a:gd name="hf" fmla="val 105146"/>
                <a:gd name="vf" fmla="val 11055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8" name="Textplatzhalter 9">
            <a:extLst>
              <a:ext uri="{FF2B5EF4-FFF2-40B4-BE49-F238E27FC236}">
                <a16:creationId xmlns:a16="http://schemas.microsoft.com/office/drawing/2014/main" id="{988E352B-17EF-8640-597E-FBC440A66250}"/>
              </a:ext>
            </a:extLst>
          </p:cNvPr>
          <p:cNvSpPr txBox="1">
            <a:spLocks/>
          </p:cNvSpPr>
          <p:nvPr/>
        </p:nvSpPr>
        <p:spPr bwMode="gray">
          <a:xfrm>
            <a:off x="7797802" y="1843429"/>
            <a:ext cx="4011612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cales</a:t>
            </a:r>
          </a:p>
        </p:txBody>
      </p:sp>
      <p:grpSp>
        <p:nvGrpSpPr>
          <p:cNvPr id="79" name="Gruppieren 89">
            <a:extLst>
              <a:ext uri="{FF2B5EF4-FFF2-40B4-BE49-F238E27FC236}">
                <a16:creationId xmlns:a16="http://schemas.microsoft.com/office/drawing/2014/main" id="{E2995D01-2F7A-E7C2-F10D-25CCD97F0BCD}"/>
              </a:ext>
            </a:extLst>
          </p:cNvPr>
          <p:cNvGrpSpPr>
            <a:grpSpLocks/>
          </p:cNvGrpSpPr>
          <p:nvPr/>
        </p:nvGrpSpPr>
        <p:grpSpPr>
          <a:xfrm>
            <a:off x="11438265" y="2370615"/>
            <a:ext cx="323900" cy="883267"/>
            <a:chOff x="11378863" y="3907808"/>
            <a:chExt cx="323900" cy="883267"/>
          </a:xfrm>
        </p:grpSpPr>
        <p:grpSp>
          <p:nvGrpSpPr>
            <p:cNvPr id="80" name="Gruppieren 90">
              <a:extLst>
                <a:ext uri="{FF2B5EF4-FFF2-40B4-BE49-F238E27FC236}">
                  <a16:creationId xmlns:a16="http://schemas.microsoft.com/office/drawing/2014/main" id="{EEE79B00-F5D1-C6F9-860D-677FA00C9CF0}"/>
                </a:ext>
              </a:extLst>
            </p:cNvPr>
            <p:cNvGrpSpPr>
              <a:grpSpLocks/>
            </p:cNvGrpSpPr>
            <p:nvPr/>
          </p:nvGrpSpPr>
          <p:grpSpPr>
            <a:xfrm>
              <a:off x="11423026" y="3958098"/>
              <a:ext cx="235574" cy="782686"/>
              <a:chOff x="11423026" y="3957320"/>
              <a:chExt cx="235574" cy="782686"/>
            </a:xfrm>
          </p:grpSpPr>
          <p:sp>
            <p:nvSpPr>
              <p:cNvPr id="82" name="Ellipse 92">
                <a:extLst>
                  <a:ext uri="{FF2B5EF4-FFF2-40B4-BE49-F238E27FC236}">
                    <a16:creationId xmlns:a16="http://schemas.microsoft.com/office/drawing/2014/main" id="{479D0C85-AF63-3739-4AB1-25C00839F39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3957320"/>
                <a:ext cx="235574" cy="235574"/>
              </a:xfrm>
              <a:prstGeom prst="ellipse">
                <a:avLst/>
              </a:prstGeom>
              <a:solidFill>
                <a:srgbClr val="E03A3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Ellipse 93">
                <a:extLst>
                  <a:ext uri="{FF2B5EF4-FFF2-40B4-BE49-F238E27FC236}">
                    <a16:creationId xmlns:a16="http://schemas.microsoft.com/office/drawing/2014/main" id="{8A67C243-1829-1406-70A7-DB300D63EE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4230876"/>
                <a:ext cx="235574" cy="235574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Ellipse 94">
                <a:extLst>
                  <a:ext uri="{FF2B5EF4-FFF2-40B4-BE49-F238E27FC236}">
                    <a16:creationId xmlns:a16="http://schemas.microsoft.com/office/drawing/2014/main" id="{0D7A5561-E9F1-833C-DC05-DF0F4DEE37D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4504432"/>
                <a:ext cx="235574" cy="235574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81" name="Rechteck: abgerundete Ecken 91">
              <a:extLst>
                <a:ext uri="{FF2B5EF4-FFF2-40B4-BE49-F238E27FC236}">
                  <a16:creationId xmlns:a16="http://schemas.microsoft.com/office/drawing/2014/main" id="{B2B26AF1-A255-B84B-714A-1903254A432F}"/>
                </a:ext>
              </a:extLst>
            </p:cNvPr>
            <p:cNvSpPr>
              <a:spLocks/>
            </p:cNvSpPr>
            <p:nvPr/>
          </p:nvSpPr>
          <p:spPr>
            <a:xfrm>
              <a:off x="11378863" y="3907808"/>
              <a:ext cx="323900" cy="883267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5" name="Gruppieren 95">
            <a:extLst>
              <a:ext uri="{FF2B5EF4-FFF2-40B4-BE49-F238E27FC236}">
                <a16:creationId xmlns:a16="http://schemas.microsoft.com/office/drawing/2014/main" id="{D20380F0-0764-CA43-3039-52948D8ADE9B}"/>
              </a:ext>
            </a:extLst>
          </p:cNvPr>
          <p:cNvGrpSpPr>
            <a:grpSpLocks/>
          </p:cNvGrpSpPr>
          <p:nvPr/>
        </p:nvGrpSpPr>
        <p:grpSpPr>
          <a:xfrm>
            <a:off x="10900615" y="2370615"/>
            <a:ext cx="323900" cy="883267"/>
            <a:chOff x="11378863" y="3907808"/>
            <a:chExt cx="323900" cy="883267"/>
          </a:xfrm>
        </p:grpSpPr>
        <p:grpSp>
          <p:nvGrpSpPr>
            <p:cNvPr id="86" name="Gruppieren 96">
              <a:extLst>
                <a:ext uri="{FF2B5EF4-FFF2-40B4-BE49-F238E27FC236}">
                  <a16:creationId xmlns:a16="http://schemas.microsoft.com/office/drawing/2014/main" id="{2B0F3111-9742-2941-99E8-1F7E4C4BD0C8}"/>
                </a:ext>
              </a:extLst>
            </p:cNvPr>
            <p:cNvGrpSpPr>
              <a:grpSpLocks/>
            </p:cNvGrpSpPr>
            <p:nvPr/>
          </p:nvGrpSpPr>
          <p:grpSpPr>
            <a:xfrm>
              <a:off x="11423026" y="3958098"/>
              <a:ext cx="235574" cy="782686"/>
              <a:chOff x="11423026" y="3957320"/>
              <a:chExt cx="235574" cy="782686"/>
            </a:xfrm>
          </p:grpSpPr>
          <p:sp>
            <p:nvSpPr>
              <p:cNvPr id="88" name="Ellipse 98">
                <a:extLst>
                  <a:ext uri="{FF2B5EF4-FFF2-40B4-BE49-F238E27FC236}">
                    <a16:creationId xmlns:a16="http://schemas.microsoft.com/office/drawing/2014/main" id="{1AE47914-4F9E-FC1D-2883-C588C71F80F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3957320"/>
                <a:ext cx="235574" cy="235574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Ellipse 99">
                <a:extLst>
                  <a:ext uri="{FF2B5EF4-FFF2-40B4-BE49-F238E27FC236}">
                    <a16:creationId xmlns:a16="http://schemas.microsoft.com/office/drawing/2014/main" id="{337B1BD8-5087-3683-9477-56691A5920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4230876"/>
                <a:ext cx="235574" cy="235574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0" name="Ellipse 100">
                <a:extLst>
                  <a:ext uri="{FF2B5EF4-FFF2-40B4-BE49-F238E27FC236}">
                    <a16:creationId xmlns:a16="http://schemas.microsoft.com/office/drawing/2014/main" id="{FC2C7CC0-2061-4CE6-E0F8-D032E609D0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4504432"/>
                <a:ext cx="235574" cy="235574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87" name="Rechteck: abgerundete Ecken 97">
              <a:extLst>
                <a:ext uri="{FF2B5EF4-FFF2-40B4-BE49-F238E27FC236}">
                  <a16:creationId xmlns:a16="http://schemas.microsoft.com/office/drawing/2014/main" id="{A59AD30D-1EFE-F11B-F00E-DD9702211FD7}"/>
                </a:ext>
              </a:extLst>
            </p:cNvPr>
            <p:cNvSpPr>
              <a:spLocks/>
            </p:cNvSpPr>
            <p:nvPr/>
          </p:nvSpPr>
          <p:spPr>
            <a:xfrm>
              <a:off x="11378863" y="3907808"/>
              <a:ext cx="323900" cy="883267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1" name="Gruppieren 101">
            <a:extLst>
              <a:ext uri="{FF2B5EF4-FFF2-40B4-BE49-F238E27FC236}">
                <a16:creationId xmlns:a16="http://schemas.microsoft.com/office/drawing/2014/main" id="{870DAE92-ED8C-9DD4-B0B9-1CE416C40C2F}"/>
              </a:ext>
            </a:extLst>
          </p:cNvPr>
          <p:cNvGrpSpPr>
            <a:grpSpLocks/>
          </p:cNvGrpSpPr>
          <p:nvPr/>
        </p:nvGrpSpPr>
        <p:grpSpPr>
          <a:xfrm>
            <a:off x="10362965" y="2370615"/>
            <a:ext cx="323900" cy="883267"/>
            <a:chOff x="11378863" y="3907808"/>
            <a:chExt cx="323900" cy="883267"/>
          </a:xfrm>
        </p:grpSpPr>
        <p:grpSp>
          <p:nvGrpSpPr>
            <p:cNvPr id="92" name="Gruppieren 102">
              <a:extLst>
                <a:ext uri="{FF2B5EF4-FFF2-40B4-BE49-F238E27FC236}">
                  <a16:creationId xmlns:a16="http://schemas.microsoft.com/office/drawing/2014/main" id="{20F0112B-0C35-0267-A72D-7FF2A1372F39}"/>
                </a:ext>
              </a:extLst>
            </p:cNvPr>
            <p:cNvGrpSpPr>
              <a:grpSpLocks/>
            </p:cNvGrpSpPr>
            <p:nvPr/>
          </p:nvGrpSpPr>
          <p:grpSpPr>
            <a:xfrm>
              <a:off x="11423026" y="3958098"/>
              <a:ext cx="235574" cy="782686"/>
              <a:chOff x="11423026" y="3957320"/>
              <a:chExt cx="235574" cy="782686"/>
            </a:xfrm>
          </p:grpSpPr>
          <p:sp>
            <p:nvSpPr>
              <p:cNvPr id="94" name="Ellipse 104">
                <a:extLst>
                  <a:ext uri="{FF2B5EF4-FFF2-40B4-BE49-F238E27FC236}">
                    <a16:creationId xmlns:a16="http://schemas.microsoft.com/office/drawing/2014/main" id="{451FAB3F-F4FB-1316-C8FD-312485C8518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3957320"/>
                <a:ext cx="235574" cy="235574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Ellipse 105">
                <a:extLst>
                  <a:ext uri="{FF2B5EF4-FFF2-40B4-BE49-F238E27FC236}">
                    <a16:creationId xmlns:a16="http://schemas.microsoft.com/office/drawing/2014/main" id="{3565704A-AEC1-0FD5-5739-7C95A65AEBA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4230876"/>
                <a:ext cx="235574" cy="235574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6" name="Ellipse 106">
                <a:extLst>
                  <a:ext uri="{FF2B5EF4-FFF2-40B4-BE49-F238E27FC236}">
                    <a16:creationId xmlns:a16="http://schemas.microsoft.com/office/drawing/2014/main" id="{B6DF6183-791B-7D9B-EFBA-2DF435F600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4504432"/>
                <a:ext cx="235574" cy="23557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93" name="Rechteck: abgerundete Ecken 103">
              <a:extLst>
                <a:ext uri="{FF2B5EF4-FFF2-40B4-BE49-F238E27FC236}">
                  <a16:creationId xmlns:a16="http://schemas.microsoft.com/office/drawing/2014/main" id="{CA862796-02A2-E568-166E-34EFFA0F324F}"/>
                </a:ext>
              </a:extLst>
            </p:cNvPr>
            <p:cNvSpPr>
              <a:spLocks/>
            </p:cNvSpPr>
            <p:nvPr/>
          </p:nvSpPr>
          <p:spPr>
            <a:xfrm>
              <a:off x="11378863" y="3907808"/>
              <a:ext cx="323900" cy="883267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7" name="Ellipse 107">
            <a:extLst>
              <a:ext uri="{FF2B5EF4-FFF2-40B4-BE49-F238E27FC236}">
                <a16:creationId xmlns:a16="http://schemas.microsoft.com/office/drawing/2014/main" id="{A1513150-EB3A-F73B-3410-E0CE2421288A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7816850" y="5099050"/>
            <a:ext cx="301625" cy="301625"/>
          </a:xfrm>
          <a:prstGeom prst="ellips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Ellipse 109">
            <a:extLst>
              <a:ext uri="{FF2B5EF4-FFF2-40B4-BE49-F238E27FC236}">
                <a16:creationId xmlns:a16="http://schemas.microsoft.com/office/drawing/2014/main" id="{A33FA88C-91FC-ED2E-4BC9-0ED0DF65D2DF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8313738" y="5099050"/>
            <a:ext cx="301625" cy="301625"/>
          </a:xfrm>
          <a:prstGeom prst="ellips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Bogen 110">
            <a:extLst>
              <a:ext uri="{FF2B5EF4-FFF2-40B4-BE49-F238E27FC236}">
                <a16:creationId xmlns:a16="http://schemas.microsoft.com/office/drawing/2014/main" id="{72A591CA-97AA-5BA3-2AC1-390B6DCB6C8D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8313738" y="5099050"/>
            <a:ext cx="301625" cy="301624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Ellipse 111">
            <a:extLst>
              <a:ext uri="{FF2B5EF4-FFF2-40B4-BE49-F238E27FC236}">
                <a16:creationId xmlns:a16="http://schemas.microsoft.com/office/drawing/2014/main" id="{C78D85F5-335F-8F7E-112B-1F4BCC57588D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8809038" y="5099050"/>
            <a:ext cx="301625" cy="301625"/>
          </a:xfrm>
          <a:prstGeom prst="ellips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Bogen 112">
            <a:extLst>
              <a:ext uri="{FF2B5EF4-FFF2-40B4-BE49-F238E27FC236}">
                <a16:creationId xmlns:a16="http://schemas.microsoft.com/office/drawing/2014/main" id="{64B052C9-CF2E-A47B-563B-990D4B8209C8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8809038" y="5099050"/>
            <a:ext cx="301625" cy="301624"/>
          </a:xfrm>
          <a:prstGeom prst="arc">
            <a:avLst>
              <a:gd name="adj1" fmla="val 16200000"/>
              <a:gd name="adj2" fmla="val 5400000"/>
            </a:avLst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Ellipse 113">
            <a:extLst>
              <a:ext uri="{FF2B5EF4-FFF2-40B4-BE49-F238E27FC236}">
                <a16:creationId xmlns:a16="http://schemas.microsoft.com/office/drawing/2014/main" id="{2A437D8D-1E1A-8314-CF29-6A4F8E5A9DFF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9305925" y="5099050"/>
            <a:ext cx="301625" cy="301625"/>
          </a:xfrm>
          <a:prstGeom prst="ellips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Bogen 114">
            <a:extLst>
              <a:ext uri="{FF2B5EF4-FFF2-40B4-BE49-F238E27FC236}">
                <a16:creationId xmlns:a16="http://schemas.microsoft.com/office/drawing/2014/main" id="{B0154CC7-EF41-D659-B260-AA767722A3D1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9305925" y="5099050"/>
            <a:ext cx="301625" cy="301624"/>
          </a:xfrm>
          <a:prstGeom prst="arc">
            <a:avLst>
              <a:gd name="adj1" fmla="val 16200000"/>
              <a:gd name="adj2" fmla="val 10800000"/>
            </a:avLst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Ellipse 115">
            <a:extLst>
              <a:ext uri="{FF2B5EF4-FFF2-40B4-BE49-F238E27FC236}">
                <a16:creationId xmlns:a16="http://schemas.microsoft.com/office/drawing/2014/main" id="{6A867AE7-9362-93D4-0622-3C64039F5E9A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9801225" y="5099050"/>
            <a:ext cx="301625" cy="301625"/>
          </a:xfrm>
          <a:prstGeom prst="ellipse">
            <a:avLst/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5" name="Gruppieren 136">
            <a:extLst>
              <a:ext uri="{FF2B5EF4-FFF2-40B4-BE49-F238E27FC236}">
                <a16:creationId xmlns:a16="http://schemas.microsoft.com/office/drawing/2014/main" id="{90FADFFD-A93B-B165-07BC-4E4DE2BEE016}"/>
              </a:ext>
            </a:extLst>
          </p:cNvPr>
          <p:cNvGrpSpPr>
            <a:grpSpLocks/>
          </p:cNvGrpSpPr>
          <p:nvPr/>
        </p:nvGrpSpPr>
        <p:grpSpPr>
          <a:xfrm>
            <a:off x="10315716" y="3917950"/>
            <a:ext cx="418398" cy="1501775"/>
            <a:chOff x="10583574" y="4510089"/>
            <a:chExt cx="495300" cy="1777992"/>
          </a:xfrm>
        </p:grpSpPr>
        <p:sp>
          <p:nvSpPr>
            <p:cNvPr id="106" name="Freihandform: Form 135">
              <a:extLst>
                <a:ext uri="{FF2B5EF4-FFF2-40B4-BE49-F238E27FC236}">
                  <a16:creationId xmlns:a16="http://schemas.microsoft.com/office/drawing/2014/main" id="{0EDCAE0A-1B68-F450-38F5-4E11E0E211B8}"/>
                </a:ext>
              </a:extLst>
            </p:cNvPr>
            <p:cNvSpPr>
              <a:spLocks/>
            </p:cNvSpPr>
            <p:nvPr/>
          </p:nvSpPr>
          <p:spPr>
            <a:xfrm>
              <a:off x="10583574" y="4510089"/>
              <a:ext cx="495300" cy="1777992"/>
            </a:xfrm>
            <a:custGeom>
              <a:avLst/>
              <a:gdLst>
                <a:gd name="connsiteX0" fmla="*/ 247650 w 495300"/>
                <a:gd name="connsiteY0" fmla="*/ 0 h 1777992"/>
                <a:gd name="connsiteX1" fmla="*/ 396479 w 495300"/>
                <a:gd name="connsiteY1" fmla="*/ 148829 h 1777992"/>
                <a:gd name="connsiteX2" fmla="*/ 396478 w 495300"/>
                <a:gd name="connsiteY2" fmla="*/ 1312466 h 1777992"/>
                <a:gd name="connsiteX3" fmla="*/ 392029 w 495300"/>
                <a:gd name="connsiteY3" fmla="*/ 1334504 h 1777992"/>
                <a:gd name="connsiteX4" fmla="*/ 422765 w 495300"/>
                <a:gd name="connsiteY4" fmla="*/ 1355227 h 1777992"/>
                <a:gd name="connsiteX5" fmla="*/ 495300 w 495300"/>
                <a:gd name="connsiteY5" fmla="*/ 1530342 h 1777992"/>
                <a:gd name="connsiteX6" fmla="*/ 247650 w 495300"/>
                <a:gd name="connsiteY6" fmla="*/ 1777992 h 1777992"/>
                <a:gd name="connsiteX7" fmla="*/ 0 w 495300"/>
                <a:gd name="connsiteY7" fmla="*/ 1530342 h 1777992"/>
                <a:gd name="connsiteX8" fmla="*/ 72535 w 495300"/>
                <a:gd name="connsiteY8" fmla="*/ 1355227 h 1777992"/>
                <a:gd name="connsiteX9" fmla="*/ 103271 w 495300"/>
                <a:gd name="connsiteY9" fmla="*/ 1334505 h 1777992"/>
                <a:gd name="connsiteX10" fmla="*/ 98821 w 495300"/>
                <a:gd name="connsiteY10" fmla="*/ 1312465 h 1777992"/>
                <a:gd name="connsiteX11" fmla="*/ 98821 w 495300"/>
                <a:gd name="connsiteY11" fmla="*/ 148829 h 1777992"/>
                <a:gd name="connsiteX12" fmla="*/ 247650 w 495300"/>
                <a:gd name="connsiteY12" fmla="*/ 0 h 1777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5300" h="1777992">
                  <a:moveTo>
                    <a:pt x="247650" y="0"/>
                  </a:moveTo>
                  <a:cubicBezTo>
                    <a:pt x="329846" y="0"/>
                    <a:pt x="396479" y="66633"/>
                    <a:pt x="396479" y="148829"/>
                  </a:cubicBezTo>
                  <a:cubicBezTo>
                    <a:pt x="396479" y="536708"/>
                    <a:pt x="396478" y="924587"/>
                    <a:pt x="396478" y="1312466"/>
                  </a:cubicBezTo>
                  <a:lnTo>
                    <a:pt x="392029" y="1334504"/>
                  </a:lnTo>
                  <a:lnTo>
                    <a:pt x="422765" y="1355227"/>
                  </a:lnTo>
                  <a:cubicBezTo>
                    <a:pt x="467581" y="1400043"/>
                    <a:pt x="495300" y="1461956"/>
                    <a:pt x="495300" y="1530342"/>
                  </a:cubicBezTo>
                  <a:cubicBezTo>
                    <a:pt x="495300" y="1667115"/>
                    <a:pt x="384423" y="1777992"/>
                    <a:pt x="247650" y="1777992"/>
                  </a:cubicBezTo>
                  <a:cubicBezTo>
                    <a:pt x="110877" y="1777992"/>
                    <a:pt x="0" y="1667115"/>
                    <a:pt x="0" y="1530342"/>
                  </a:cubicBezTo>
                  <a:cubicBezTo>
                    <a:pt x="0" y="1461956"/>
                    <a:pt x="27719" y="1400043"/>
                    <a:pt x="72535" y="1355227"/>
                  </a:cubicBezTo>
                  <a:lnTo>
                    <a:pt x="103271" y="1334505"/>
                  </a:lnTo>
                  <a:lnTo>
                    <a:pt x="98821" y="1312465"/>
                  </a:lnTo>
                  <a:lnTo>
                    <a:pt x="98821" y="148829"/>
                  </a:lnTo>
                  <a:cubicBezTo>
                    <a:pt x="98821" y="66633"/>
                    <a:pt x="165454" y="0"/>
                    <a:pt x="24765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tlCol="0" anchor="ctr">
              <a:noAutofit/>
            </a:bodyPr>
            <a:lstStyle/>
            <a:p>
              <a:pPr algn="ctr"/>
              <a:endParaRPr lang="en-US" sz="1000" b="1"/>
            </a:p>
          </p:txBody>
        </p:sp>
        <p:sp>
          <p:nvSpPr>
            <p:cNvPr id="107" name="Rechteck: obere Ecken abgerundet 124">
              <a:extLst>
                <a:ext uri="{FF2B5EF4-FFF2-40B4-BE49-F238E27FC236}">
                  <a16:creationId xmlns:a16="http://schemas.microsoft.com/office/drawing/2014/main" id="{3502AF88-7235-EF95-2464-A9648A226B79}"/>
                </a:ext>
              </a:extLst>
            </p:cNvPr>
            <p:cNvSpPr>
              <a:spLocks/>
            </p:cNvSpPr>
            <p:nvPr/>
          </p:nvSpPr>
          <p:spPr>
            <a:xfrm>
              <a:off x="10770703" y="4600574"/>
              <a:ext cx="121043" cy="116681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08" name="Rechteck 125">
              <a:extLst>
                <a:ext uri="{FF2B5EF4-FFF2-40B4-BE49-F238E27FC236}">
                  <a16:creationId xmlns:a16="http://schemas.microsoft.com/office/drawing/2014/main" id="{0AFB9D3D-626A-9270-8D79-66923F93CB14}"/>
                </a:ext>
              </a:extLst>
            </p:cNvPr>
            <p:cNvSpPr>
              <a:spLocks/>
            </p:cNvSpPr>
            <p:nvPr/>
          </p:nvSpPr>
          <p:spPr>
            <a:xfrm>
              <a:off x="10770703" y="4737309"/>
              <a:ext cx="121043" cy="1164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09" name="Rechteck 126">
              <a:extLst>
                <a:ext uri="{FF2B5EF4-FFF2-40B4-BE49-F238E27FC236}">
                  <a16:creationId xmlns:a16="http://schemas.microsoft.com/office/drawing/2014/main" id="{8808993C-BE3C-B4E4-C670-26A2ED13FAE2}"/>
                </a:ext>
              </a:extLst>
            </p:cNvPr>
            <p:cNvSpPr>
              <a:spLocks/>
            </p:cNvSpPr>
            <p:nvPr/>
          </p:nvSpPr>
          <p:spPr>
            <a:xfrm>
              <a:off x="10770703" y="4873769"/>
              <a:ext cx="121043" cy="1164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10" name="Rechteck 127">
              <a:extLst>
                <a:ext uri="{FF2B5EF4-FFF2-40B4-BE49-F238E27FC236}">
                  <a16:creationId xmlns:a16="http://schemas.microsoft.com/office/drawing/2014/main" id="{58C0B782-8F46-CDF6-18C8-16DDE9257D89}"/>
                </a:ext>
              </a:extLst>
            </p:cNvPr>
            <p:cNvSpPr>
              <a:spLocks/>
            </p:cNvSpPr>
            <p:nvPr/>
          </p:nvSpPr>
          <p:spPr>
            <a:xfrm>
              <a:off x="10770703" y="5010229"/>
              <a:ext cx="121043" cy="1164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11" name="Rechteck 128">
              <a:extLst>
                <a:ext uri="{FF2B5EF4-FFF2-40B4-BE49-F238E27FC236}">
                  <a16:creationId xmlns:a16="http://schemas.microsoft.com/office/drawing/2014/main" id="{88EAE9D4-8CEB-C83C-AD5E-7EE315E4BD6D}"/>
                </a:ext>
              </a:extLst>
            </p:cNvPr>
            <p:cNvSpPr>
              <a:spLocks/>
            </p:cNvSpPr>
            <p:nvPr/>
          </p:nvSpPr>
          <p:spPr>
            <a:xfrm>
              <a:off x="10770703" y="5146689"/>
              <a:ext cx="121043" cy="1164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12" name="Rechteck 129">
              <a:extLst>
                <a:ext uri="{FF2B5EF4-FFF2-40B4-BE49-F238E27FC236}">
                  <a16:creationId xmlns:a16="http://schemas.microsoft.com/office/drawing/2014/main" id="{79E57E46-C5B0-0A05-F916-BAF1E6795EC7}"/>
                </a:ext>
              </a:extLst>
            </p:cNvPr>
            <p:cNvSpPr>
              <a:spLocks/>
            </p:cNvSpPr>
            <p:nvPr/>
          </p:nvSpPr>
          <p:spPr>
            <a:xfrm>
              <a:off x="10770703" y="5283149"/>
              <a:ext cx="121043" cy="1164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13" name="Rechteck 130">
              <a:extLst>
                <a:ext uri="{FF2B5EF4-FFF2-40B4-BE49-F238E27FC236}">
                  <a16:creationId xmlns:a16="http://schemas.microsoft.com/office/drawing/2014/main" id="{815F648E-6910-731E-2194-DDDA3DE4B751}"/>
                </a:ext>
              </a:extLst>
            </p:cNvPr>
            <p:cNvSpPr>
              <a:spLocks/>
            </p:cNvSpPr>
            <p:nvPr/>
          </p:nvSpPr>
          <p:spPr>
            <a:xfrm>
              <a:off x="10770703" y="5419609"/>
              <a:ext cx="121043" cy="1164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14" name="Rechteck 131">
              <a:extLst>
                <a:ext uri="{FF2B5EF4-FFF2-40B4-BE49-F238E27FC236}">
                  <a16:creationId xmlns:a16="http://schemas.microsoft.com/office/drawing/2014/main" id="{6123A2CD-8C14-EA7D-3321-A48CA897B8D2}"/>
                </a:ext>
              </a:extLst>
            </p:cNvPr>
            <p:cNvSpPr>
              <a:spLocks/>
            </p:cNvSpPr>
            <p:nvPr/>
          </p:nvSpPr>
          <p:spPr>
            <a:xfrm>
              <a:off x="10770703" y="555606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15" name="Freihandform: Form 134">
              <a:extLst>
                <a:ext uri="{FF2B5EF4-FFF2-40B4-BE49-F238E27FC236}">
                  <a16:creationId xmlns:a16="http://schemas.microsoft.com/office/drawing/2014/main" id="{87393D9E-FB1C-6DB4-D240-BE7E53608B20}"/>
                </a:ext>
              </a:extLst>
            </p:cNvPr>
            <p:cNvSpPr>
              <a:spLocks/>
            </p:cNvSpPr>
            <p:nvPr/>
          </p:nvSpPr>
          <p:spPr>
            <a:xfrm>
              <a:off x="10676948" y="5828986"/>
              <a:ext cx="308550" cy="365718"/>
            </a:xfrm>
            <a:custGeom>
              <a:avLst/>
              <a:gdLst>
                <a:gd name="connsiteX0" fmla="*/ 93754 w 308550"/>
                <a:gd name="connsiteY0" fmla="*/ 0 h 365718"/>
                <a:gd name="connsiteX1" fmla="*/ 214797 w 308550"/>
                <a:gd name="connsiteY1" fmla="*/ 0 h 365718"/>
                <a:gd name="connsiteX2" fmla="*/ 214797 w 308550"/>
                <a:gd name="connsiteY2" fmla="*/ 69612 h 365718"/>
                <a:gd name="connsiteX3" fmla="*/ 263364 w 308550"/>
                <a:gd name="connsiteY3" fmla="*/ 102356 h 365718"/>
                <a:gd name="connsiteX4" fmla="*/ 308550 w 308550"/>
                <a:gd name="connsiteY4" fmla="*/ 211444 h 365718"/>
                <a:gd name="connsiteX5" fmla="*/ 154275 w 308550"/>
                <a:gd name="connsiteY5" fmla="*/ 365718 h 365718"/>
                <a:gd name="connsiteX6" fmla="*/ 0 w 308550"/>
                <a:gd name="connsiteY6" fmla="*/ 211444 h 365718"/>
                <a:gd name="connsiteX7" fmla="*/ 45186 w 308550"/>
                <a:gd name="connsiteY7" fmla="*/ 102356 h 365718"/>
                <a:gd name="connsiteX8" fmla="*/ 93754 w 308550"/>
                <a:gd name="connsiteY8" fmla="*/ 69611 h 365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50" h="365718">
                  <a:moveTo>
                    <a:pt x="93754" y="0"/>
                  </a:moveTo>
                  <a:lnTo>
                    <a:pt x="214797" y="0"/>
                  </a:lnTo>
                  <a:lnTo>
                    <a:pt x="214797" y="69612"/>
                  </a:lnTo>
                  <a:lnTo>
                    <a:pt x="263364" y="102356"/>
                  </a:lnTo>
                  <a:cubicBezTo>
                    <a:pt x="291282" y="130274"/>
                    <a:pt x="308550" y="168843"/>
                    <a:pt x="308550" y="211444"/>
                  </a:cubicBezTo>
                  <a:cubicBezTo>
                    <a:pt x="308550" y="296647"/>
                    <a:pt x="239479" y="365718"/>
                    <a:pt x="154275" y="365718"/>
                  </a:cubicBezTo>
                  <a:cubicBezTo>
                    <a:pt x="69071" y="365718"/>
                    <a:pt x="0" y="296647"/>
                    <a:pt x="0" y="211444"/>
                  </a:cubicBezTo>
                  <a:cubicBezTo>
                    <a:pt x="0" y="168843"/>
                    <a:pt x="17268" y="130274"/>
                    <a:pt x="45186" y="102356"/>
                  </a:cubicBezTo>
                  <a:lnTo>
                    <a:pt x="93754" y="696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tlCol="0" anchor="ctr">
              <a:noAutofit/>
            </a:bodyPr>
            <a:lstStyle/>
            <a:p>
              <a:pPr algn="ctr"/>
              <a:r>
                <a:rPr lang="en-US" sz="1000" b="1"/>
                <a:t>15°</a:t>
              </a:r>
            </a:p>
          </p:txBody>
        </p:sp>
        <p:sp>
          <p:nvSpPr>
            <p:cNvPr id="116" name="Rechteck 133">
              <a:extLst>
                <a:ext uri="{FF2B5EF4-FFF2-40B4-BE49-F238E27FC236}">
                  <a16:creationId xmlns:a16="http://schemas.microsoft.com/office/drawing/2014/main" id="{E1FBD80A-13FF-C6FD-61CD-CC18F0AFCD0F}"/>
                </a:ext>
              </a:extLst>
            </p:cNvPr>
            <p:cNvSpPr>
              <a:spLocks/>
            </p:cNvSpPr>
            <p:nvPr/>
          </p:nvSpPr>
          <p:spPr>
            <a:xfrm>
              <a:off x="10770703" y="569252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</p:grpSp>
      <p:grpSp>
        <p:nvGrpSpPr>
          <p:cNvPr id="117" name="Gruppieren 137">
            <a:extLst>
              <a:ext uri="{FF2B5EF4-FFF2-40B4-BE49-F238E27FC236}">
                <a16:creationId xmlns:a16="http://schemas.microsoft.com/office/drawing/2014/main" id="{F31251DC-8045-56DF-A844-BBBE40A14FEA}"/>
              </a:ext>
            </a:extLst>
          </p:cNvPr>
          <p:cNvGrpSpPr>
            <a:grpSpLocks/>
          </p:cNvGrpSpPr>
          <p:nvPr/>
        </p:nvGrpSpPr>
        <p:grpSpPr>
          <a:xfrm>
            <a:off x="10853366" y="3917950"/>
            <a:ext cx="418398" cy="1501775"/>
            <a:chOff x="10583574" y="4510089"/>
            <a:chExt cx="495300" cy="1777992"/>
          </a:xfrm>
        </p:grpSpPr>
        <p:sp>
          <p:nvSpPr>
            <p:cNvPr id="118" name="Freihandform: Form 138">
              <a:extLst>
                <a:ext uri="{FF2B5EF4-FFF2-40B4-BE49-F238E27FC236}">
                  <a16:creationId xmlns:a16="http://schemas.microsoft.com/office/drawing/2014/main" id="{D49E99D6-205F-6717-6B65-942BFE0DC678}"/>
                </a:ext>
              </a:extLst>
            </p:cNvPr>
            <p:cNvSpPr>
              <a:spLocks/>
            </p:cNvSpPr>
            <p:nvPr/>
          </p:nvSpPr>
          <p:spPr>
            <a:xfrm>
              <a:off x="10583574" y="4510089"/>
              <a:ext cx="495300" cy="1777992"/>
            </a:xfrm>
            <a:custGeom>
              <a:avLst/>
              <a:gdLst>
                <a:gd name="connsiteX0" fmla="*/ 247650 w 495300"/>
                <a:gd name="connsiteY0" fmla="*/ 0 h 1777992"/>
                <a:gd name="connsiteX1" fmla="*/ 396479 w 495300"/>
                <a:gd name="connsiteY1" fmla="*/ 148829 h 1777992"/>
                <a:gd name="connsiteX2" fmla="*/ 396478 w 495300"/>
                <a:gd name="connsiteY2" fmla="*/ 1312466 h 1777992"/>
                <a:gd name="connsiteX3" fmla="*/ 392029 w 495300"/>
                <a:gd name="connsiteY3" fmla="*/ 1334504 h 1777992"/>
                <a:gd name="connsiteX4" fmla="*/ 422765 w 495300"/>
                <a:gd name="connsiteY4" fmla="*/ 1355227 h 1777992"/>
                <a:gd name="connsiteX5" fmla="*/ 495300 w 495300"/>
                <a:gd name="connsiteY5" fmla="*/ 1530342 h 1777992"/>
                <a:gd name="connsiteX6" fmla="*/ 247650 w 495300"/>
                <a:gd name="connsiteY6" fmla="*/ 1777992 h 1777992"/>
                <a:gd name="connsiteX7" fmla="*/ 0 w 495300"/>
                <a:gd name="connsiteY7" fmla="*/ 1530342 h 1777992"/>
                <a:gd name="connsiteX8" fmla="*/ 72535 w 495300"/>
                <a:gd name="connsiteY8" fmla="*/ 1355227 h 1777992"/>
                <a:gd name="connsiteX9" fmla="*/ 103271 w 495300"/>
                <a:gd name="connsiteY9" fmla="*/ 1334505 h 1777992"/>
                <a:gd name="connsiteX10" fmla="*/ 98821 w 495300"/>
                <a:gd name="connsiteY10" fmla="*/ 1312465 h 1777992"/>
                <a:gd name="connsiteX11" fmla="*/ 98821 w 495300"/>
                <a:gd name="connsiteY11" fmla="*/ 148829 h 1777992"/>
                <a:gd name="connsiteX12" fmla="*/ 247650 w 495300"/>
                <a:gd name="connsiteY12" fmla="*/ 0 h 1777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5300" h="1777992">
                  <a:moveTo>
                    <a:pt x="247650" y="0"/>
                  </a:moveTo>
                  <a:cubicBezTo>
                    <a:pt x="329846" y="0"/>
                    <a:pt x="396479" y="66633"/>
                    <a:pt x="396479" y="148829"/>
                  </a:cubicBezTo>
                  <a:cubicBezTo>
                    <a:pt x="396479" y="536708"/>
                    <a:pt x="396478" y="924587"/>
                    <a:pt x="396478" y="1312466"/>
                  </a:cubicBezTo>
                  <a:lnTo>
                    <a:pt x="392029" y="1334504"/>
                  </a:lnTo>
                  <a:lnTo>
                    <a:pt x="422765" y="1355227"/>
                  </a:lnTo>
                  <a:cubicBezTo>
                    <a:pt x="467581" y="1400043"/>
                    <a:pt x="495300" y="1461956"/>
                    <a:pt x="495300" y="1530342"/>
                  </a:cubicBezTo>
                  <a:cubicBezTo>
                    <a:pt x="495300" y="1667115"/>
                    <a:pt x="384423" y="1777992"/>
                    <a:pt x="247650" y="1777992"/>
                  </a:cubicBezTo>
                  <a:cubicBezTo>
                    <a:pt x="110877" y="1777992"/>
                    <a:pt x="0" y="1667115"/>
                    <a:pt x="0" y="1530342"/>
                  </a:cubicBezTo>
                  <a:cubicBezTo>
                    <a:pt x="0" y="1461956"/>
                    <a:pt x="27719" y="1400043"/>
                    <a:pt x="72535" y="1355227"/>
                  </a:cubicBezTo>
                  <a:lnTo>
                    <a:pt x="103271" y="1334505"/>
                  </a:lnTo>
                  <a:lnTo>
                    <a:pt x="98821" y="1312465"/>
                  </a:lnTo>
                  <a:lnTo>
                    <a:pt x="98821" y="148829"/>
                  </a:lnTo>
                  <a:cubicBezTo>
                    <a:pt x="98821" y="66633"/>
                    <a:pt x="165454" y="0"/>
                    <a:pt x="24765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tlCol="0" anchor="ctr">
              <a:noAutofit/>
            </a:bodyPr>
            <a:lstStyle/>
            <a:p>
              <a:pPr algn="ctr"/>
              <a:endParaRPr lang="en-US" sz="1000" b="1"/>
            </a:p>
          </p:txBody>
        </p:sp>
        <p:sp>
          <p:nvSpPr>
            <p:cNvPr id="119" name="Rechteck: obere Ecken abgerundet 139">
              <a:extLst>
                <a:ext uri="{FF2B5EF4-FFF2-40B4-BE49-F238E27FC236}">
                  <a16:creationId xmlns:a16="http://schemas.microsoft.com/office/drawing/2014/main" id="{E4669B51-5D9C-2654-4597-122FA6A7F765}"/>
                </a:ext>
              </a:extLst>
            </p:cNvPr>
            <p:cNvSpPr>
              <a:spLocks/>
            </p:cNvSpPr>
            <p:nvPr/>
          </p:nvSpPr>
          <p:spPr>
            <a:xfrm>
              <a:off x="10770703" y="4600574"/>
              <a:ext cx="121043" cy="116681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20" name="Rechteck 140">
              <a:extLst>
                <a:ext uri="{FF2B5EF4-FFF2-40B4-BE49-F238E27FC236}">
                  <a16:creationId xmlns:a16="http://schemas.microsoft.com/office/drawing/2014/main" id="{04E898E9-8508-5F24-8A65-848CAA9CFAF1}"/>
                </a:ext>
              </a:extLst>
            </p:cNvPr>
            <p:cNvSpPr>
              <a:spLocks/>
            </p:cNvSpPr>
            <p:nvPr/>
          </p:nvSpPr>
          <p:spPr>
            <a:xfrm>
              <a:off x="10770703" y="4737309"/>
              <a:ext cx="121043" cy="1164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21" name="Rechteck 141">
              <a:extLst>
                <a:ext uri="{FF2B5EF4-FFF2-40B4-BE49-F238E27FC236}">
                  <a16:creationId xmlns:a16="http://schemas.microsoft.com/office/drawing/2014/main" id="{49B1AF1E-BD1D-E3F7-479D-F917249E5C8B}"/>
                </a:ext>
              </a:extLst>
            </p:cNvPr>
            <p:cNvSpPr>
              <a:spLocks/>
            </p:cNvSpPr>
            <p:nvPr/>
          </p:nvSpPr>
          <p:spPr>
            <a:xfrm>
              <a:off x="10770703" y="4873769"/>
              <a:ext cx="121043" cy="1164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22" name="Rechteck 142">
              <a:extLst>
                <a:ext uri="{FF2B5EF4-FFF2-40B4-BE49-F238E27FC236}">
                  <a16:creationId xmlns:a16="http://schemas.microsoft.com/office/drawing/2014/main" id="{BF34ED1C-EF85-7A87-2D8B-B5ACFD6BD58D}"/>
                </a:ext>
              </a:extLst>
            </p:cNvPr>
            <p:cNvSpPr>
              <a:spLocks/>
            </p:cNvSpPr>
            <p:nvPr/>
          </p:nvSpPr>
          <p:spPr>
            <a:xfrm>
              <a:off x="10770703" y="5010229"/>
              <a:ext cx="121043" cy="1164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23" name="Rechteck 143">
              <a:extLst>
                <a:ext uri="{FF2B5EF4-FFF2-40B4-BE49-F238E27FC236}">
                  <a16:creationId xmlns:a16="http://schemas.microsoft.com/office/drawing/2014/main" id="{FEC463FA-D780-E8DE-579E-7E37521AAC9A}"/>
                </a:ext>
              </a:extLst>
            </p:cNvPr>
            <p:cNvSpPr>
              <a:spLocks/>
            </p:cNvSpPr>
            <p:nvPr/>
          </p:nvSpPr>
          <p:spPr>
            <a:xfrm>
              <a:off x="10770703" y="514668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24" name="Rechteck 144">
              <a:extLst>
                <a:ext uri="{FF2B5EF4-FFF2-40B4-BE49-F238E27FC236}">
                  <a16:creationId xmlns:a16="http://schemas.microsoft.com/office/drawing/2014/main" id="{5916E734-0173-B3F5-C770-E46E71E864C9}"/>
                </a:ext>
              </a:extLst>
            </p:cNvPr>
            <p:cNvSpPr>
              <a:spLocks/>
            </p:cNvSpPr>
            <p:nvPr/>
          </p:nvSpPr>
          <p:spPr>
            <a:xfrm>
              <a:off x="10770703" y="528314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25" name="Rechteck 145">
              <a:extLst>
                <a:ext uri="{FF2B5EF4-FFF2-40B4-BE49-F238E27FC236}">
                  <a16:creationId xmlns:a16="http://schemas.microsoft.com/office/drawing/2014/main" id="{205FB0B0-D818-352A-FE44-7F15B3D909D1}"/>
                </a:ext>
              </a:extLst>
            </p:cNvPr>
            <p:cNvSpPr>
              <a:spLocks/>
            </p:cNvSpPr>
            <p:nvPr/>
          </p:nvSpPr>
          <p:spPr>
            <a:xfrm>
              <a:off x="10770703" y="541960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26" name="Rechteck 146">
              <a:extLst>
                <a:ext uri="{FF2B5EF4-FFF2-40B4-BE49-F238E27FC236}">
                  <a16:creationId xmlns:a16="http://schemas.microsoft.com/office/drawing/2014/main" id="{3DE51CFA-F06A-ADB8-EEA1-CB7B191BE593}"/>
                </a:ext>
              </a:extLst>
            </p:cNvPr>
            <p:cNvSpPr>
              <a:spLocks/>
            </p:cNvSpPr>
            <p:nvPr/>
          </p:nvSpPr>
          <p:spPr>
            <a:xfrm>
              <a:off x="10770703" y="555606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27" name="Freihandform: Form 147">
              <a:extLst>
                <a:ext uri="{FF2B5EF4-FFF2-40B4-BE49-F238E27FC236}">
                  <a16:creationId xmlns:a16="http://schemas.microsoft.com/office/drawing/2014/main" id="{3F1D61DC-7032-69ED-2DC0-EDD99BC4033E}"/>
                </a:ext>
              </a:extLst>
            </p:cNvPr>
            <p:cNvSpPr>
              <a:spLocks/>
            </p:cNvSpPr>
            <p:nvPr/>
          </p:nvSpPr>
          <p:spPr>
            <a:xfrm>
              <a:off x="10676948" y="5828986"/>
              <a:ext cx="308550" cy="365718"/>
            </a:xfrm>
            <a:custGeom>
              <a:avLst/>
              <a:gdLst>
                <a:gd name="connsiteX0" fmla="*/ 93754 w 308550"/>
                <a:gd name="connsiteY0" fmla="*/ 0 h 365718"/>
                <a:gd name="connsiteX1" fmla="*/ 214797 w 308550"/>
                <a:gd name="connsiteY1" fmla="*/ 0 h 365718"/>
                <a:gd name="connsiteX2" fmla="*/ 214797 w 308550"/>
                <a:gd name="connsiteY2" fmla="*/ 69612 h 365718"/>
                <a:gd name="connsiteX3" fmla="*/ 263364 w 308550"/>
                <a:gd name="connsiteY3" fmla="*/ 102356 h 365718"/>
                <a:gd name="connsiteX4" fmla="*/ 308550 w 308550"/>
                <a:gd name="connsiteY4" fmla="*/ 211444 h 365718"/>
                <a:gd name="connsiteX5" fmla="*/ 154275 w 308550"/>
                <a:gd name="connsiteY5" fmla="*/ 365718 h 365718"/>
                <a:gd name="connsiteX6" fmla="*/ 0 w 308550"/>
                <a:gd name="connsiteY6" fmla="*/ 211444 h 365718"/>
                <a:gd name="connsiteX7" fmla="*/ 45186 w 308550"/>
                <a:gd name="connsiteY7" fmla="*/ 102356 h 365718"/>
                <a:gd name="connsiteX8" fmla="*/ 93754 w 308550"/>
                <a:gd name="connsiteY8" fmla="*/ 69611 h 365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50" h="365718">
                  <a:moveTo>
                    <a:pt x="93754" y="0"/>
                  </a:moveTo>
                  <a:lnTo>
                    <a:pt x="214797" y="0"/>
                  </a:lnTo>
                  <a:lnTo>
                    <a:pt x="214797" y="69612"/>
                  </a:lnTo>
                  <a:lnTo>
                    <a:pt x="263364" y="102356"/>
                  </a:lnTo>
                  <a:cubicBezTo>
                    <a:pt x="291282" y="130274"/>
                    <a:pt x="308550" y="168843"/>
                    <a:pt x="308550" y="211444"/>
                  </a:cubicBezTo>
                  <a:cubicBezTo>
                    <a:pt x="308550" y="296647"/>
                    <a:pt x="239479" y="365718"/>
                    <a:pt x="154275" y="365718"/>
                  </a:cubicBezTo>
                  <a:cubicBezTo>
                    <a:pt x="69071" y="365718"/>
                    <a:pt x="0" y="296647"/>
                    <a:pt x="0" y="211444"/>
                  </a:cubicBezTo>
                  <a:cubicBezTo>
                    <a:pt x="0" y="168843"/>
                    <a:pt x="17268" y="130274"/>
                    <a:pt x="45186" y="102356"/>
                  </a:cubicBezTo>
                  <a:lnTo>
                    <a:pt x="93754" y="696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tlCol="0" anchor="ctr">
              <a:noAutofit/>
            </a:bodyPr>
            <a:lstStyle/>
            <a:p>
              <a:pPr algn="ctr"/>
              <a:r>
                <a:rPr lang="en-US" sz="1000" b="1"/>
                <a:t>30°</a:t>
              </a:r>
            </a:p>
          </p:txBody>
        </p:sp>
        <p:sp>
          <p:nvSpPr>
            <p:cNvPr id="128" name="Rechteck 148">
              <a:extLst>
                <a:ext uri="{FF2B5EF4-FFF2-40B4-BE49-F238E27FC236}">
                  <a16:creationId xmlns:a16="http://schemas.microsoft.com/office/drawing/2014/main" id="{B48F005F-1B11-8772-87CB-606519D02769}"/>
                </a:ext>
              </a:extLst>
            </p:cNvPr>
            <p:cNvSpPr>
              <a:spLocks/>
            </p:cNvSpPr>
            <p:nvPr/>
          </p:nvSpPr>
          <p:spPr>
            <a:xfrm>
              <a:off x="10770703" y="569252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</p:grpSp>
      <p:grpSp>
        <p:nvGrpSpPr>
          <p:cNvPr id="129" name="Gruppieren 149">
            <a:extLst>
              <a:ext uri="{FF2B5EF4-FFF2-40B4-BE49-F238E27FC236}">
                <a16:creationId xmlns:a16="http://schemas.microsoft.com/office/drawing/2014/main" id="{5F2D18A1-3C68-8E84-B426-CA4130766F74}"/>
              </a:ext>
            </a:extLst>
          </p:cNvPr>
          <p:cNvGrpSpPr>
            <a:grpSpLocks/>
          </p:cNvGrpSpPr>
          <p:nvPr/>
        </p:nvGrpSpPr>
        <p:grpSpPr>
          <a:xfrm>
            <a:off x="11391016" y="3917950"/>
            <a:ext cx="418398" cy="1501775"/>
            <a:chOff x="10583574" y="4510089"/>
            <a:chExt cx="495300" cy="1777992"/>
          </a:xfrm>
        </p:grpSpPr>
        <p:sp>
          <p:nvSpPr>
            <p:cNvPr id="130" name="Freihandform: Form 150">
              <a:extLst>
                <a:ext uri="{FF2B5EF4-FFF2-40B4-BE49-F238E27FC236}">
                  <a16:creationId xmlns:a16="http://schemas.microsoft.com/office/drawing/2014/main" id="{30F97365-9B4B-94EA-18BF-6B5511A321FA}"/>
                </a:ext>
              </a:extLst>
            </p:cNvPr>
            <p:cNvSpPr>
              <a:spLocks/>
            </p:cNvSpPr>
            <p:nvPr/>
          </p:nvSpPr>
          <p:spPr>
            <a:xfrm>
              <a:off x="10583574" y="4510089"/>
              <a:ext cx="495300" cy="1777992"/>
            </a:xfrm>
            <a:custGeom>
              <a:avLst/>
              <a:gdLst>
                <a:gd name="connsiteX0" fmla="*/ 247650 w 495300"/>
                <a:gd name="connsiteY0" fmla="*/ 0 h 1777992"/>
                <a:gd name="connsiteX1" fmla="*/ 396479 w 495300"/>
                <a:gd name="connsiteY1" fmla="*/ 148829 h 1777992"/>
                <a:gd name="connsiteX2" fmla="*/ 396478 w 495300"/>
                <a:gd name="connsiteY2" fmla="*/ 1312466 h 1777992"/>
                <a:gd name="connsiteX3" fmla="*/ 392029 w 495300"/>
                <a:gd name="connsiteY3" fmla="*/ 1334504 h 1777992"/>
                <a:gd name="connsiteX4" fmla="*/ 422765 w 495300"/>
                <a:gd name="connsiteY4" fmla="*/ 1355227 h 1777992"/>
                <a:gd name="connsiteX5" fmla="*/ 495300 w 495300"/>
                <a:gd name="connsiteY5" fmla="*/ 1530342 h 1777992"/>
                <a:gd name="connsiteX6" fmla="*/ 247650 w 495300"/>
                <a:gd name="connsiteY6" fmla="*/ 1777992 h 1777992"/>
                <a:gd name="connsiteX7" fmla="*/ 0 w 495300"/>
                <a:gd name="connsiteY7" fmla="*/ 1530342 h 1777992"/>
                <a:gd name="connsiteX8" fmla="*/ 72535 w 495300"/>
                <a:gd name="connsiteY8" fmla="*/ 1355227 h 1777992"/>
                <a:gd name="connsiteX9" fmla="*/ 103271 w 495300"/>
                <a:gd name="connsiteY9" fmla="*/ 1334505 h 1777992"/>
                <a:gd name="connsiteX10" fmla="*/ 98821 w 495300"/>
                <a:gd name="connsiteY10" fmla="*/ 1312465 h 1777992"/>
                <a:gd name="connsiteX11" fmla="*/ 98821 w 495300"/>
                <a:gd name="connsiteY11" fmla="*/ 148829 h 1777992"/>
                <a:gd name="connsiteX12" fmla="*/ 247650 w 495300"/>
                <a:gd name="connsiteY12" fmla="*/ 0 h 1777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5300" h="1777992">
                  <a:moveTo>
                    <a:pt x="247650" y="0"/>
                  </a:moveTo>
                  <a:cubicBezTo>
                    <a:pt x="329846" y="0"/>
                    <a:pt x="396479" y="66633"/>
                    <a:pt x="396479" y="148829"/>
                  </a:cubicBezTo>
                  <a:cubicBezTo>
                    <a:pt x="396479" y="536708"/>
                    <a:pt x="396478" y="924587"/>
                    <a:pt x="396478" y="1312466"/>
                  </a:cubicBezTo>
                  <a:lnTo>
                    <a:pt x="392029" y="1334504"/>
                  </a:lnTo>
                  <a:lnTo>
                    <a:pt x="422765" y="1355227"/>
                  </a:lnTo>
                  <a:cubicBezTo>
                    <a:pt x="467581" y="1400043"/>
                    <a:pt x="495300" y="1461956"/>
                    <a:pt x="495300" y="1530342"/>
                  </a:cubicBezTo>
                  <a:cubicBezTo>
                    <a:pt x="495300" y="1667115"/>
                    <a:pt x="384423" y="1777992"/>
                    <a:pt x="247650" y="1777992"/>
                  </a:cubicBezTo>
                  <a:cubicBezTo>
                    <a:pt x="110877" y="1777992"/>
                    <a:pt x="0" y="1667115"/>
                    <a:pt x="0" y="1530342"/>
                  </a:cubicBezTo>
                  <a:cubicBezTo>
                    <a:pt x="0" y="1461956"/>
                    <a:pt x="27719" y="1400043"/>
                    <a:pt x="72535" y="1355227"/>
                  </a:cubicBezTo>
                  <a:lnTo>
                    <a:pt x="103271" y="1334505"/>
                  </a:lnTo>
                  <a:lnTo>
                    <a:pt x="98821" y="1312465"/>
                  </a:lnTo>
                  <a:lnTo>
                    <a:pt x="98821" y="148829"/>
                  </a:lnTo>
                  <a:cubicBezTo>
                    <a:pt x="98821" y="66633"/>
                    <a:pt x="165454" y="0"/>
                    <a:pt x="24765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tlCol="0" anchor="ctr">
              <a:noAutofit/>
            </a:bodyPr>
            <a:lstStyle/>
            <a:p>
              <a:pPr algn="ctr"/>
              <a:endParaRPr lang="en-US" sz="1000" b="1"/>
            </a:p>
          </p:txBody>
        </p:sp>
        <p:sp>
          <p:nvSpPr>
            <p:cNvPr id="131" name="Rechteck: obere Ecken abgerundet 151">
              <a:extLst>
                <a:ext uri="{FF2B5EF4-FFF2-40B4-BE49-F238E27FC236}">
                  <a16:creationId xmlns:a16="http://schemas.microsoft.com/office/drawing/2014/main" id="{F9971891-DF4E-0E16-7EB3-4C744FD3BAF2}"/>
                </a:ext>
              </a:extLst>
            </p:cNvPr>
            <p:cNvSpPr>
              <a:spLocks/>
            </p:cNvSpPr>
            <p:nvPr/>
          </p:nvSpPr>
          <p:spPr>
            <a:xfrm>
              <a:off x="10770703" y="4600574"/>
              <a:ext cx="121043" cy="116681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32" name="Rechteck 152">
              <a:extLst>
                <a:ext uri="{FF2B5EF4-FFF2-40B4-BE49-F238E27FC236}">
                  <a16:creationId xmlns:a16="http://schemas.microsoft.com/office/drawing/2014/main" id="{8A69A628-272E-3F73-7D04-D10DD11B513F}"/>
                </a:ext>
              </a:extLst>
            </p:cNvPr>
            <p:cNvSpPr>
              <a:spLocks/>
            </p:cNvSpPr>
            <p:nvPr/>
          </p:nvSpPr>
          <p:spPr>
            <a:xfrm>
              <a:off x="10770703" y="473730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33" name="Rechteck 153">
              <a:extLst>
                <a:ext uri="{FF2B5EF4-FFF2-40B4-BE49-F238E27FC236}">
                  <a16:creationId xmlns:a16="http://schemas.microsoft.com/office/drawing/2014/main" id="{21565F8B-37EF-B319-806A-CF6A44812A67}"/>
                </a:ext>
              </a:extLst>
            </p:cNvPr>
            <p:cNvSpPr>
              <a:spLocks/>
            </p:cNvSpPr>
            <p:nvPr/>
          </p:nvSpPr>
          <p:spPr>
            <a:xfrm>
              <a:off x="10770703" y="487376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34" name="Rechteck 154">
              <a:extLst>
                <a:ext uri="{FF2B5EF4-FFF2-40B4-BE49-F238E27FC236}">
                  <a16:creationId xmlns:a16="http://schemas.microsoft.com/office/drawing/2014/main" id="{B08C8D36-83E8-DE3E-5C60-439F9F4DF886}"/>
                </a:ext>
              </a:extLst>
            </p:cNvPr>
            <p:cNvSpPr>
              <a:spLocks/>
            </p:cNvSpPr>
            <p:nvPr/>
          </p:nvSpPr>
          <p:spPr>
            <a:xfrm>
              <a:off x="10770703" y="501022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35" name="Rechteck 155">
              <a:extLst>
                <a:ext uri="{FF2B5EF4-FFF2-40B4-BE49-F238E27FC236}">
                  <a16:creationId xmlns:a16="http://schemas.microsoft.com/office/drawing/2014/main" id="{7DDF1BFF-27FD-74AE-C0C7-1155C5F6972F}"/>
                </a:ext>
              </a:extLst>
            </p:cNvPr>
            <p:cNvSpPr>
              <a:spLocks/>
            </p:cNvSpPr>
            <p:nvPr/>
          </p:nvSpPr>
          <p:spPr>
            <a:xfrm>
              <a:off x="10770703" y="514668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36" name="Rechteck 156">
              <a:extLst>
                <a:ext uri="{FF2B5EF4-FFF2-40B4-BE49-F238E27FC236}">
                  <a16:creationId xmlns:a16="http://schemas.microsoft.com/office/drawing/2014/main" id="{1445F8C0-BE0C-B803-A489-D68A32185DDE}"/>
                </a:ext>
              </a:extLst>
            </p:cNvPr>
            <p:cNvSpPr>
              <a:spLocks/>
            </p:cNvSpPr>
            <p:nvPr/>
          </p:nvSpPr>
          <p:spPr>
            <a:xfrm>
              <a:off x="10770703" y="528314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37" name="Rechteck 157">
              <a:extLst>
                <a:ext uri="{FF2B5EF4-FFF2-40B4-BE49-F238E27FC236}">
                  <a16:creationId xmlns:a16="http://schemas.microsoft.com/office/drawing/2014/main" id="{9AAEDFC5-F7F3-2B0B-701C-C0D62D8F8289}"/>
                </a:ext>
              </a:extLst>
            </p:cNvPr>
            <p:cNvSpPr>
              <a:spLocks/>
            </p:cNvSpPr>
            <p:nvPr/>
          </p:nvSpPr>
          <p:spPr>
            <a:xfrm>
              <a:off x="10770703" y="541960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38" name="Rechteck 158">
              <a:extLst>
                <a:ext uri="{FF2B5EF4-FFF2-40B4-BE49-F238E27FC236}">
                  <a16:creationId xmlns:a16="http://schemas.microsoft.com/office/drawing/2014/main" id="{739948AB-4068-F4D8-C424-ECB35FFBAF0F}"/>
                </a:ext>
              </a:extLst>
            </p:cNvPr>
            <p:cNvSpPr>
              <a:spLocks/>
            </p:cNvSpPr>
            <p:nvPr/>
          </p:nvSpPr>
          <p:spPr>
            <a:xfrm>
              <a:off x="10770703" y="555606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  <p:sp>
          <p:nvSpPr>
            <p:cNvPr id="139" name="Freihandform: Form 159">
              <a:extLst>
                <a:ext uri="{FF2B5EF4-FFF2-40B4-BE49-F238E27FC236}">
                  <a16:creationId xmlns:a16="http://schemas.microsoft.com/office/drawing/2014/main" id="{439C3CDC-3743-EC20-B74E-FBC23B6E6635}"/>
                </a:ext>
              </a:extLst>
            </p:cNvPr>
            <p:cNvSpPr>
              <a:spLocks/>
            </p:cNvSpPr>
            <p:nvPr/>
          </p:nvSpPr>
          <p:spPr>
            <a:xfrm>
              <a:off x="10676948" y="5828986"/>
              <a:ext cx="308550" cy="365718"/>
            </a:xfrm>
            <a:custGeom>
              <a:avLst/>
              <a:gdLst>
                <a:gd name="connsiteX0" fmla="*/ 93754 w 308550"/>
                <a:gd name="connsiteY0" fmla="*/ 0 h 365718"/>
                <a:gd name="connsiteX1" fmla="*/ 214797 w 308550"/>
                <a:gd name="connsiteY1" fmla="*/ 0 h 365718"/>
                <a:gd name="connsiteX2" fmla="*/ 214797 w 308550"/>
                <a:gd name="connsiteY2" fmla="*/ 69612 h 365718"/>
                <a:gd name="connsiteX3" fmla="*/ 263364 w 308550"/>
                <a:gd name="connsiteY3" fmla="*/ 102356 h 365718"/>
                <a:gd name="connsiteX4" fmla="*/ 308550 w 308550"/>
                <a:gd name="connsiteY4" fmla="*/ 211444 h 365718"/>
                <a:gd name="connsiteX5" fmla="*/ 154275 w 308550"/>
                <a:gd name="connsiteY5" fmla="*/ 365718 h 365718"/>
                <a:gd name="connsiteX6" fmla="*/ 0 w 308550"/>
                <a:gd name="connsiteY6" fmla="*/ 211444 h 365718"/>
                <a:gd name="connsiteX7" fmla="*/ 45186 w 308550"/>
                <a:gd name="connsiteY7" fmla="*/ 102356 h 365718"/>
                <a:gd name="connsiteX8" fmla="*/ 93754 w 308550"/>
                <a:gd name="connsiteY8" fmla="*/ 69611 h 365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50" h="365718">
                  <a:moveTo>
                    <a:pt x="93754" y="0"/>
                  </a:moveTo>
                  <a:lnTo>
                    <a:pt x="214797" y="0"/>
                  </a:lnTo>
                  <a:lnTo>
                    <a:pt x="214797" y="69612"/>
                  </a:lnTo>
                  <a:lnTo>
                    <a:pt x="263364" y="102356"/>
                  </a:lnTo>
                  <a:cubicBezTo>
                    <a:pt x="291282" y="130274"/>
                    <a:pt x="308550" y="168843"/>
                    <a:pt x="308550" y="211444"/>
                  </a:cubicBezTo>
                  <a:cubicBezTo>
                    <a:pt x="308550" y="296647"/>
                    <a:pt x="239479" y="365718"/>
                    <a:pt x="154275" y="365718"/>
                  </a:cubicBezTo>
                  <a:cubicBezTo>
                    <a:pt x="69071" y="365718"/>
                    <a:pt x="0" y="296647"/>
                    <a:pt x="0" y="211444"/>
                  </a:cubicBezTo>
                  <a:cubicBezTo>
                    <a:pt x="0" y="168843"/>
                    <a:pt x="17268" y="130274"/>
                    <a:pt x="45186" y="102356"/>
                  </a:cubicBezTo>
                  <a:lnTo>
                    <a:pt x="93754" y="696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tlCol="0" anchor="ctr">
              <a:noAutofit/>
            </a:bodyPr>
            <a:lstStyle/>
            <a:p>
              <a:pPr algn="ctr"/>
              <a:r>
                <a:rPr lang="en-US" sz="1000" b="1"/>
                <a:t>45°</a:t>
              </a:r>
            </a:p>
          </p:txBody>
        </p:sp>
        <p:sp>
          <p:nvSpPr>
            <p:cNvPr id="140" name="Rechteck 160">
              <a:extLst>
                <a:ext uri="{FF2B5EF4-FFF2-40B4-BE49-F238E27FC236}">
                  <a16:creationId xmlns:a16="http://schemas.microsoft.com/office/drawing/2014/main" id="{91DEFB9A-FAD4-8FC5-24C0-0E35C7B1CF83}"/>
                </a:ext>
              </a:extLst>
            </p:cNvPr>
            <p:cNvSpPr>
              <a:spLocks/>
            </p:cNvSpPr>
            <p:nvPr/>
          </p:nvSpPr>
          <p:spPr>
            <a:xfrm>
              <a:off x="10770703" y="5692529"/>
              <a:ext cx="121043" cy="116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08000" tIns="108000" rIns="0" bIns="0" rtlCol="0" anchor="ctr"/>
            <a:lstStyle/>
            <a:p>
              <a:pPr algn="ctr"/>
              <a:endParaRPr lang="en-US" sz="1000" b="1"/>
            </a:p>
          </p:txBody>
        </p:sp>
      </p:grp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A0AF17A3-0800-19E9-F838-B9D4178B26E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8491107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icon, icons, star, stars, rating, ratings, traffic light, lights, Harvey ball, balls, thermometer, thermometers, temperature, temperatures, symbol</a:t>
            </a:r>
          </a:p>
        </p:txBody>
      </p:sp>
    </p:spTree>
    <p:extLst>
      <p:ext uri="{BB962C8B-B14F-4D97-AF65-F5344CB8AC3E}">
        <p14:creationId xmlns:p14="http://schemas.microsoft.com/office/powerpoint/2010/main" val="22660325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z1urYTegZ0NFqcm7bFaA"/>
</p:tagLst>
</file>

<file path=ppt/tags/tag2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xIYpxWvFrJnSBJfm4u5g"/>
</p:tagLst>
</file>

<file path=ppt/tags/tag2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_JhPyLTQU94IhQYv.wGw"/>
</p:tagLst>
</file>

<file path=ppt/tags/tag2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Pv29oSTE9ez8.SFZQ2BQ"/>
</p:tagLst>
</file>

<file path=ppt/tags/tag2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3.v32zrRNcngesYjSawg"/>
</p:tagLst>
</file>

<file path=ppt/tags/tag2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sGrc_ukwEbG5PiiZen2g"/>
</p:tagLst>
</file>

<file path=ppt/tags/tag2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HRzvBONJJErA8MiCXQvQ"/>
</p:tagLst>
</file>

<file path=ppt/tags/tag2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2hy4NCXgx2b6JDf7Lw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